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5"/>
    <p:sldMasterId id="2147483780" r:id="rId6"/>
  </p:sldMasterIdLst>
  <p:notesMasterIdLst>
    <p:notesMasterId r:id="rId31"/>
  </p:notesMasterIdLst>
  <p:handoutMasterIdLst>
    <p:handoutMasterId r:id="rId32"/>
  </p:handoutMasterIdLst>
  <p:sldIdLst>
    <p:sldId id="2050" r:id="rId7"/>
    <p:sldId id="2029" r:id="rId8"/>
    <p:sldId id="2064" r:id="rId9"/>
    <p:sldId id="2117" r:id="rId10"/>
    <p:sldId id="2118" r:id="rId11"/>
    <p:sldId id="2082" r:id="rId12"/>
    <p:sldId id="2116" r:id="rId13"/>
    <p:sldId id="2106" r:id="rId14"/>
    <p:sldId id="2119" r:id="rId15"/>
    <p:sldId id="2085" r:id="rId16"/>
    <p:sldId id="2112" r:id="rId17"/>
    <p:sldId id="2114" r:id="rId18"/>
    <p:sldId id="2111" r:id="rId19"/>
    <p:sldId id="2115" r:id="rId20"/>
    <p:sldId id="2103" r:id="rId21"/>
    <p:sldId id="2102" r:id="rId22"/>
    <p:sldId id="2101" r:id="rId23"/>
    <p:sldId id="2100" r:id="rId24"/>
    <p:sldId id="2099" r:id="rId25"/>
    <p:sldId id="2098" r:id="rId26"/>
    <p:sldId id="2107" r:id="rId27"/>
    <p:sldId id="2108" r:id="rId28"/>
    <p:sldId id="2109" r:id="rId29"/>
    <p:sldId id="2055" r:id="rId30"/>
  </p:sldIdLst>
  <p:sldSz cx="12192000" cy="6858000"/>
  <p:notesSz cx="6742113" cy="98726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9B2B3063-0F87-4A62-B227-FCE959156BC9}">
          <p14:sldIdLst>
            <p14:sldId id="2050"/>
          </p14:sldIdLst>
        </p14:section>
        <p14:section name="1. Table of Content" id="{3EB52685-B8B7-4C5E-86FA-B92F55AE9F61}">
          <p14:sldIdLst>
            <p14:sldId id="2029"/>
          </p14:sldIdLst>
        </p14:section>
        <p14:section name="2. Business Background" id="{A861B793-2425-41A5-B309-16F8BEB2F217}">
          <p14:sldIdLst>
            <p14:sldId id="2064"/>
            <p14:sldId id="2117"/>
            <p14:sldId id="2118"/>
          </p14:sldIdLst>
        </p14:section>
        <p14:section name="4. Scope of Requirements" id="{9F4F0643-C0F9-4A3E-8391-5671C4EA4E74}">
          <p14:sldIdLst>
            <p14:sldId id="2082"/>
            <p14:sldId id="2116"/>
          </p14:sldIdLst>
        </p14:section>
        <p14:section name="5. Techncial Specification" id="{33741883-3CC4-4226-A178-6276C0A9AB19}">
          <p14:sldIdLst>
            <p14:sldId id="2106"/>
            <p14:sldId id="2119"/>
          </p14:sldIdLst>
        </p14:section>
        <p14:section name="6. Technical Evaluation" id="{051E1796-F24C-4C6A-AD55-7B8E9738C34B}">
          <p14:sldIdLst>
            <p14:sldId id="2085"/>
            <p14:sldId id="2112"/>
            <p14:sldId id="2114"/>
          </p14:sldIdLst>
        </p14:section>
        <p14:section name="7. Technical Presentation Evaluation" id="{AA204377-302B-4A4E-B493-E7E725134556}">
          <p14:sldIdLst>
            <p14:sldId id="2111"/>
            <p14:sldId id="2115"/>
          </p14:sldIdLst>
        </p14:section>
        <p14:section name="8. Pricing &amp; Delivery Schedule" id="{DA3F0EFC-6625-42BD-B78F-ECDABBBCF35F}">
          <p14:sldIdLst>
            <p14:sldId id="2103"/>
            <p14:sldId id="2102"/>
            <p14:sldId id="2101"/>
            <p14:sldId id="2100"/>
            <p14:sldId id="2099"/>
            <p14:sldId id="2098"/>
            <p14:sldId id="2107"/>
            <p14:sldId id="2108"/>
            <p14:sldId id="2109"/>
          </p14:sldIdLst>
        </p14:section>
        <p14:section name="End of Presentation" id="{3328F5DA-6A42-4621-9FD3-3D1A3EF721B2}">
          <p14:sldIdLst>
            <p14:sldId id="2055"/>
          </p14:sldIdLst>
        </p14:section>
      </p14:sectionLst>
    </p:ext>
    <p:ext uri="{EFAFB233-063F-42B5-8137-9DF3F51BA10A}">
      <p15:sldGuideLst xmlns:p15="http://schemas.microsoft.com/office/powerpoint/2012/main">
        <p15:guide id="1" orient="horz" pos="436" userDrawn="1">
          <p15:clr>
            <a:srgbClr val="A4A3A4"/>
          </p15:clr>
        </p15:guide>
        <p15:guide id="2" pos="18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2E11"/>
    <a:srgbClr val="FDC60D"/>
    <a:srgbClr val="E63C2B"/>
    <a:srgbClr val="7DBA02"/>
    <a:srgbClr val="959B51"/>
    <a:srgbClr val="F37920"/>
    <a:srgbClr val="0098AF"/>
    <a:srgbClr val="8CBE3A"/>
    <a:srgbClr val="E42313"/>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B7A7FB-CF2D-4345-96C3-A0DAFE0D0CE4}" v="68" dt="2025-04-14T13:40:30.1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guide orient="horz" pos="436"/>
        <p:guide pos="18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microsoft.com/office/2016/11/relationships/changesInfo" Target="changesInfos/changesInfo1.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osipho Bhengu   Transnet Port Terminals   Durban" userId="97380147-6f8d-4228-b37a-4680380c2fbf" providerId="ADAL" clId="{F3B7A7FB-CF2D-4345-96C3-A0DAFE0D0CE4}"/>
    <pc:docChg chg="undo redo custSel addSld delSld modSld addSection delSection modSection">
      <pc:chgData name="Nosipho Bhengu   Transnet Port Terminals   Durban" userId="97380147-6f8d-4228-b37a-4680380c2fbf" providerId="ADAL" clId="{F3B7A7FB-CF2D-4345-96C3-A0DAFE0D0CE4}" dt="2025-04-14T14:04:54.729" v="3368" actId="17851"/>
      <pc:docMkLst>
        <pc:docMk/>
      </pc:docMkLst>
      <pc:sldChg chg="modSp mod">
        <pc:chgData name="Nosipho Bhengu   Transnet Port Terminals   Durban" userId="97380147-6f8d-4228-b37a-4680380c2fbf" providerId="ADAL" clId="{F3B7A7FB-CF2D-4345-96C3-A0DAFE0D0CE4}" dt="2025-04-14T13:27:02.140" v="2519" actId="20577"/>
        <pc:sldMkLst>
          <pc:docMk/>
          <pc:sldMk cId="1378339560" sldId="2029"/>
        </pc:sldMkLst>
        <pc:spChg chg="mod">
          <ac:chgData name="Nosipho Bhengu   Transnet Port Terminals   Durban" userId="97380147-6f8d-4228-b37a-4680380c2fbf" providerId="ADAL" clId="{F3B7A7FB-CF2D-4345-96C3-A0DAFE0D0CE4}" dt="2025-04-14T11:34:19.779" v="444"/>
          <ac:spMkLst>
            <pc:docMk/>
            <pc:sldMk cId="1378339560" sldId="2029"/>
            <ac:spMk id="130" creationId="{EF382210-A450-6F80-3314-8A2842F91CA5}"/>
          </ac:spMkLst>
        </pc:spChg>
        <pc:graphicFrameChg chg="mod modGraphic">
          <ac:chgData name="Nosipho Bhengu   Transnet Port Terminals   Durban" userId="97380147-6f8d-4228-b37a-4680380c2fbf" providerId="ADAL" clId="{F3B7A7FB-CF2D-4345-96C3-A0DAFE0D0CE4}" dt="2025-04-14T13:27:02.140" v="2519" actId="20577"/>
          <ac:graphicFrameMkLst>
            <pc:docMk/>
            <pc:sldMk cId="1378339560" sldId="2029"/>
            <ac:graphicFrameMk id="20" creationId="{DE0DA2DE-03F7-09AD-73F1-C949E5416CAB}"/>
          </ac:graphicFrameMkLst>
        </pc:graphicFrameChg>
      </pc:sldChg>
      <pc:sldChg chg="modSp mod modClrScheme chgLayout">
        <pc:chgData name="Nosipho Bhengu   Transnet Port Terminals   Durban" userId="97380147-6f8d-4228-b37a-4680380c2fbf" providerId="ADAL" clId="{F3B7A7FB-CF2D-4345-96C3-A0DAFE0D0CE4}" dt="2025-04-14T11:35:39.410" v="462" actId="20577"/>
        <pc:sldMkLst>
          <pc:docMk/>
          <pc:sldMk cId="910211464" sldId="2050"/>
        </pc:sldMkLst>
        <pc:spChg chg="mod">
          <ac:chgData name="Nosipho Bhengu   Transnet Port Terminals   Durban" userId="97380147-6f8d-4228-b37a-4680380c2fbf" providerId="ADAL" clId="{F3B7A7FB-CF2D-4345-96C3-A0DAFE0D0CE4}" dt="2025-04-14T10:23:37.303" v="36" actId="1076"/>
          <ac:spMkLst>
            <pc:docMk/>
            <pc:sldMk cId="910211464" sldId="2050"/>
            <ac:spMk id="5" creationId="{1F54FC13-02AE-90E1-C564-F0EE8DD75D6F}"/>
          </ac:spMkLst>
        </pc:spChg>
        <pc:spChg chg="mod ord">
          <ac:chgData name="Nosipho Bhengu   Transnet Port Terminals   Durban" userId="97380147-6f8d-4228-b37a-4680380c2fbf" providerId="ADAL" clId="{F3B7A7FB-CF2D-4345-96C3-A0DAFE0D0CE4}" dt="2025-04-14T11:34:48.184" v="450" actId="20577"/>
          <ac:spMkLst>
            <pc:docMk/>
            <pc:sldMk cId="910211464" sldId="2050"/>
            <ac:spMk id="11" creationId="{6AEC1638-28F3-6F55-DF6F-C9CA11247ECE}"/>
          </ac:spMkLst>
        </pc:spChg>
        <pc:spChg chg="mod ord">
          <ac:chgData name="Nosipho Bhengu   Transnet Port Terminals   Durban" userId="97380147-6f8d-4228-b37a-4680380c2fbf" providerId="ADAL" clId="{F3B7A7FB-CF2D-4345-96C3-A0DAFE0D0CE4}" dt="2025-04-14T11:35:39.410" v="462" actId="20577"/>
          <ac:spMkLst>
            <pc:docMk/>
            <pc:sldMk cId="910211464" sldId="2050"/>
            <ac:spMk id="12" creationId="{3B5E12DC-64D2-45C3-F3B8-46595D8598CD}"/>
          </ac:spMkLst>
        </pc:spChg>
      </pc:sldChg>
      <pc:sldChg chg="addSp delSp modSp mod modClrScheme chgLayout">
        <pc:chgData name="Nosipho Bhengu   Transnet Port Terminals   Durban" userId="97380147-6f8d-4228-b37a-4680380c2fbf" providerId="ADAL" clId="{F3B7A7FB-CF2D-4345-96C3-A0DAFE0D0CE4}" dt="2025-04-14T10:24:40.461" v="58" actId="478"/>
        <pc:sldMkLst>
          <pc:docMk/>
          <pc:sldMk cId="4250548563" sldId="2055"/>
        </pc:sldMkLst>
        <pc:spChg chg="add del mod ord">
          <ac:chgData name="Nosipho Bhengu   Transnet Port Terminals   Durban" userId="97380147-6f8d-4228-b37a-4680380c2fbf" providerId="ADAL" clId="{F3B7A7FB-CF2D-4345-96C3-A0DAFE0D0CE4}" dt="2025-04-14T10:24:40.461" v="58" actId="478"/>
          <ac:spMkLst>
            <pc:docMk/>
            <pc:sldMk cId="4250548563" sldId="2055"/>
            <ac:spMk id="2" creationId="{AA346258-4A55-D403-D9FE-92D544AFD7E1}"/>
          </ac:spMkLst>
        </pc:spChg>
        <pc:spChg chg="mod ord">
          <ac:chgData name="Nosipho Bhengu   Transnet Port Terminals   Durban" userId="97380147-6f8d-4228-b37a-4680380c2fbf" providerId="ADAL" clId="{F3B7A7FB-CF2D-4345-96C3-A0DAFE0D0CE4}" dt="2025-04-14T10:24:35.331" v="57" actId="700"/>
          <ac:spMkLst>
            <pc:docMk/>
            <pc:sldMk cId="4250548563" sldId="2055"/>
            <ac:spMk id="169" creationId="{5B4F7F9B-D2FA-5CC1-9CAE-52E03FB090E2}"/>
          </ac:spMkLst>
        </pc:spChg>
      </pc:sldChg>
      <pc:sldChg chg="addSp delSp modSp mod">
        <pc:chgData name="Nosipho Bhengu   Transnet Port Terminals   Durban" userId="97380147-6f8d-4228-b37a-4680380c2fbf" providerId="ADAL" clId="{F3B7A7FB-CF2D-4345-96C3-A0DAFE0D0CE4}" dt="2025-04-14T13:31:10.917" v="2627" actId="403"/>
        <pc:sldMkLst>
          <pc:docMk/>
          <pc:sldMk cId="1525525468" sldId="2064"/>
        </pc:sldMkLst>
        <pc:spChg chg="mod">
          <ac:chgData name="Nosipho Bhengu   Transnet Port Terminals   Durban" userId="97380147-6f8d-4228-b37a-4680380c2fbf" providerId="ADAL" clId="{F3B7A7FB-CF2D-4345-96C3-A0DAFE0D0CE4}" dt="2025-04-14T11:32:42.955" v="421"/>
          <ac:spMkLst>
            <pc:docMk/>
            <pc:sldMk cId="1525525468" sldId="2064"/>
            <ac:spMk id="2" creationId="{38C7DF0D-CF3D-BC6E-2657-3E6DE238EA93}"/>
          </ac:spMkLst>
        </pc:spChg>
        <pc:spChg chg="add del mod">
          <ac:chgData name="Nosipho Bhengu   Transnet Port Terminals   Durban" userId="97380147-6f8d-4228-b37a-4680380c2fbf" providerId="ADAL" clId="{F3B7A7FB-CF2D-4345-96C3-A0DAFE0D0CE4}" dt="2025-04-14T13:27:43.611" v="2538" actId="21"/>
          <ac:spMkLst>
            <pc:docMk/>
            <pc:sldMk cId="1525525468" sldId="2064"/>
            <ac:spMk id="5" creationId="{D9C75CB0-EEEB-A3C1-4EBE-F6A8A9A43C3D}"/>
          </ac:spMkLst>
        </pc:spChg>
        <pc:spChg chg="add del mod">
          <ac:chgData name="Nosipho Bhengu   Transnet Port Terminals   Durban" userId="97380147-6f8d-4228-b37a-4680380c2fbf" providerId="ADAL" clId="{F3B7A7FB-CF2D-4345-96C3-A0DAFE0D0CE4}" dt="2025-04-14T13:22:06.502" v="2346" actId="22"/>
          <ac:spMkLst>
            <pc:docMk/>
            <pc:sldMk cId="1525525468" sldId="2064"/>
            <ac:spMk id="7" creationId="{3BCB7155-F2D4-98EB-8E28-A9803CB07D35}"/>
          </ac:spMkLst>
        </pc:spChg>
        <pc:spChg chg="add mod">
          <ac:chgData name="Nosipho Bhengu   Transnet Port Terminals   Durban" userId="97380147-6f8d-4228-b37a-4680380c2fbf" providerId="ADAL" clId="{F3B7A7FB-CF2D-4345-96C3-A0DAFE0D0CE4}" dt="2025-04-14T13:31:10.917" v="2627" actId="403"/>
          <ac:spMkLst>
            <pc:docMk/>
            <pc:sldMk cId="1525525468" sldId="2064"/>
            <ac:spMk id="9" creationId="{492F722D-C310-51D8-FBD5-0E0D8875B37A}"/>
          </ac:spMkLst>
        </pc:spChg>
        <pc:spChg chg="mod">
          <ac:chgData name="Nosipho Bhengu   Transnet Port Terminals   Durban" userId="97380147-6f8d-4228-b37a-4680380c2fbf" providerId="ADAL" clId="{F3B7A7FB-CF2D-4345-96C3-A0DAFE0D0CE4}" dt="2025-04-14T13:27:27.920" v="2529" actId="20577"/>
          <ac:spMkLst>
            <pc:docMk/>
            <pc:sldMk cId="1525525468" sldId="2064"/>
            <ac:spMk id="19" creationId="{5A7DDE8A-B245-7F8D-DA6F-32478A5A14BA}"/>
          </ac:spMkLst>
        </pc:spChg>
        <pc:spChg chg="del mod">
          <ac:chgData name="Nosipho Bhengu   Transnet Port Terminals   Durban" userId="97380147-6f8d-4228-b37a-4680380c2fbf" providerId="ADAL" clId="{F3B7A7FB-CF2D-4345-96C3-A0DAFE0D0CE4}" dt="2025-04-14T13:02:18.828" v="2218"/>
          <ac:spMkLst>
            <pc:docMk/>
            <pc:sldMk cId="1525525468" sldId="2064"/>
            <ac:spMk id="24" creationId="{F56F26D1-1979-4E75-BF61-3D4E4DF77D1D}"/>
          </ac:spMkLst>
        </pc:spChg>
        <pc:graphicFrameChg chg="del">
          <ac:chgData name="Nosipho Bhengu   Transnet Port Terminals   Durban" userId="97380147-6f8d-4228-b37a-4680380c2fbf" providerId="ADAL" clId="{F3B7A7FB-CF2D-4345-96C3-A0DAFE0D0CE4}" dt="2025-04-14T12:48:15.846" v="1976" actId="478"/>
          <ac:graphicFrameMkLst>
            <pc:docMk/>
            <pc:sldMk cId="1525525468" sldId="2064"/>
            <ac:graphicFrameMk id="3" creationId="{F03CF6A7-D93C-F9AD-F6C3-C87736FC6BEF}"/>
          </ac:graphicFrameMkLst>
        </pc:graphicFrameChg>
      </pc:sldChg>
      <pc:sldChg chg="delSp modSp del mod">
        <pc:chgData name="Nosipho Bhengu   Transnet Port Terminals   Durban" userId="97380147-6f8d-4228-b37a-4680380c2fbf" providerId="ADAL" clId="{F3B7A7FB-CF2D-4345-96C3-A0DAFE0D0CE4}" dt="2025-04-14T14:04:49.917" v="3367" actId="47"/>
        <pc:sldMkLst>
          <pc:docMk/>
          <pc:sldMk cId="1746865585" sldId="2072"/>
        </pc:sldMkLst>
        <pc:spChg chg="mod">
          <ac:chgData name="Nosipho Bhengu   Transnet Port Terminals   Durban" userId="97380147-6f8d-4228-b37a-4680380c2fbf" providerId="ADAL" clId="{F3B7A7FB-CF2D-4345-96C3-A0DAFE0D0CE4}" dt="2025-04-14T11:33:10.448" v="424"/>
          <ac:spMkLst>
            <pc:docMk/>
            <pc:sldMk cId="1746865585" sldId="2072"/>
            <ac:spMk id="2" creationId="{38C7DF0D-CF3D-BC6E-2657-3E6DE238EA93}"/>
          </ac:spMkLst>
        </pc:spChg>
        <pc:spChg chg="del">
          <ac:chgData name="Nosipho Bhengu   Transnet Port Terminals   Durban" userId="97380147-6f8d-4228-b37a-4680380c2fbf" providerId="ADAL" clId="{F3B7A7FB-CF2D-4345-96C3-A0DAFE0D0CE4}" dt="2025-04-14T13:08:27.312" v="2248" actId="478"/>
          <ac:spMkLst>
            <pc:docMk/>
            <pc:sldMk cId="1746865585" sldId="2072"/>
            <ac:spMk id="7" creationId="{81B0B3C5-F282-4C82-936E-92EC3B1C40C6}"/>
          </ac:spMkLst>
        </pc:spChg>
        <pc:picChg chg="del">
          <ac:chgData name="Nosipho Bhengu   Transnet Port Terminals   Durban" userId="97380147-6f8d-4228-b37a-4680380c2fbf" providerId="ADAL" clId="{F3B7A7FB-CF2D-4345-96C3-A0DAFE0D0CE4}" dt="2025-04-14T13:08:24.956" v="2247" actId="478"/>
          <ac:picMkLst>
            <pc:docMk/>
            <pc:sldMk cId="1746865585" sldId="2072"/>
            <ac:picMk id="6" creationId="{78C1E4B4-34C6-476A-A01F-66DAFDE2556E}"/>
          </ac:picMkLst>
        </pc:picChg>
      </pc:sldChg>
      <pc:sldChg chg="modSp del mod">
        <pc:chgData name="Nosipho Bhengu   Transnet Port Terminals   Durban" userId="97380147-6f8d-4228-b37a-4680380c2fbf" providerId="ADAL" clId="{F3B7A7FB-CF2D-4345-96C3-A0DAFE0D0CE4}" dt="2025-04-14T13:08:17.648" v="2246" actId="47"/>
        <pc:sldMkLst>
          <pc:docMk/>
          <pc:sldMk cId="2248887472" sldId="2079"/>
        </pc:sldMkLst>
        <pc:spChg chg="mod">
          <ac:chgData name="Nosipho Bhengu   Transnet Port Terminals   Durban" userId="97380147-6f8d-4228-b37a-4680380c2fbf" providerId="ADAL" clId="{F3B7A7FB-CF2D-4345-96C3-A0DAFE0D0CE4}" dt="2025-04-14T11:33:05.746" v="423" actId="403"/>
          <ac:spMkLst>
            <pc:docMk/>
            <pc:sldMk cId="2248887472" sldId="2079"/>
            <ac:spMk id="2" creationId="{38C7DF0D-CF3D-BC6E-2657-3E6DE238EA93}"/>
          </ac:spMkLst>
        </pc:spChg>
      </pc:sldChg>
      <pc:sldChg chg="addSp delSp modSp mod">
        <pc:chgData name="Nosipho Bhengu   Transnet Port Terminals   Durban" userId="97380147-6f8d-4228-b37a-4680380c2fbf" providerId="ADAL" clId="{F3B7A7FB-CF2D-4345-96C3-A0DAFE0D0CE4}" dt="2025-04-14T12:58:42.377" v="2215" actId="20577"/>
        <pc:sldMkLst>
          <pc:docMk/>
          <pc:sldMk cId="1117199322" sldId="2082"/>
        </pc:sldMkLst>
        <pc:spChg chg="mod">
          <ac:chgData name="Nosipho Bhengu   Transnet Port Terminals   Durban" userId="97380147-6f8d-4228-b37a-4680380c2fbf" providerId="ADAL" clId="{F3B7A7FB-CF2D-4345-96C3-A0DAFE0D0CE4}" dt="2025-04-14T11:33:19.145" v="426"/>
          <ac:spMkLst>
            <pc:docMk/>
            <pc:sldMk cId="1117199322" sldId="2082"/>
            <ac:spMk id="2" creationId="{38C7DF0D-CF3D-BC6E-2657-3E6DE238EA93}"/>
          </ac:spMkLst>
        </pc:spChg>
        <pc:spChg chg="add mod">
          <ac:chgData name="Nosipho Bhengu   Transnet Port Terminals   Durban" userId="97380147-6f8d-4228-b37a-4680380c2fbf" providerId="ADAL" clId="{F3B7A7FB-CF2D-4345-96C3-A0DAFE0D0CE4}" dt="2025-04-14T12:58:42.377" v="2215" actId="20577"/>
          <ac:spMkLst>
            <pc:docMk/>
            <pc:sldMk cId="1117199322" sldId="2082"/>
            <ac:spMk id="4" creationId="{74CB5104-B235-3FCE-4753-85FB2F054A7E}"/>
          </ac:spMkLst>
        </pc:spChg>
        <pc:spChg chg="mod">
          <ac:chgData name="Nosipho Bhengu   Transnet Port Terminals   Durban" userId="97380147-6f8d-4228-b37a-4680380c2fbf" providerId="ADAL" clId="{F3B7A7FB-CF2D-4345-96C3-A0DAFE0D0CE4}" dt="2025-04-14T12:49:31.650" v="2018" actId="20577"/>
          <ac:spMkLst>
            <pc:docMk/>
            <pc:sldMk cId="1117199322" sldId="2082"/>
            <ac:spMk id="19" creationId="{5A7DDE8A-B245-7F8D-DA6F-32478A5A14BA}"/>
          </ac:spMkLst>
        </pc:spChg>
        <pc:spChg chg="del mod">
          <ac:chgData name="Nosipho Bhengu   Transnet Port Terminals   Durban" userId="97380147-6f8d-4228-b37a-4680380c2fbf" providerId="ADAL" clId="{F3B7A7FB-CF2D-4345-96C3-A0DAFE0D0CE4}" dt="2025-04-14T12:49:07.569" v="1983"/>
          <ac:spMkLst>
            <pc:docMk/>
            <pc:sldMk cId="1117199322" sldId="2082"/>
            <ac:spMk id="24" creationId="{F56F26D1-1979-4E75-BF61-3D4E4DF77D1D}"/>
          </ac:spMkLst>
        </pc:spChg>
      </pc:sldChg>
      <pc:sldChg chg="modSp del mod">
        <pc:chgData name="Nosipho Bhengu   Transnet Port Terminals   Durban" userId="97380147-6f8d-4228-b37a-4680380c2fbf" providerId="ADAL" clId="{F3B7A7FB-CF2D-4345-96C3-A0DAFE0D0CE4}" dt="2025-04-14T12:49:12.348" v="1986" actId="47"/>
        <pc:sldMkLst>
          <pc:docMk/>
          <pc:sldMk cId="988186050" sldId="2083"/>
        </pc:sldMkLst>
        <pc:spChg chg="mod">
          <ac:chgData name="Nosipho Bhengu   Transnet Port Terminals   Durban" userId="97380147-6f8d-4228-b37a-4680380c2fbf" providerId="ADAL" clId="{F3B7A7FB-CF2D-4345-96C3-A0DAFE0D0CE4}" dt="2025-04-14T11:33:23.599" v="427"/>
          <ac:spMkLst>
            <pc:docMk/>
            <pc:sldMk cId="988186050" sldId="2083"/>
            <ac:spMk id="2" creationId="{38C7DF0D-CF3D-BC6E-2657-3E6DE238EA93}"/>
          </ac:spMkLst>
        </pc:spChg>
      </pc:sldChg>
      <pc:sldChg chg="addSp delSp modSp mod">
        <pc:chgData name="Nosipho Bhengu   Transnet Port Terminals   Durban" userId="97380147-6f8d-4228-b37a-4680380c2fbf" providerId="ADAL" clId="{F3B7A7FB-CF2D-4345-96C3-A0DAFE0D0CE4}" dt="2025-04-14T12:17:03.232" v="1223" actId="1076"/>
        <pc:sldMkLst>
          <pc:docMk/>
          <pc:sldMk cId="2190344448" sldId="2085"/>
        </pc:sldMkLst>
        <pc:spChg chg="mod">
          <ac:chgData name="Nosipho Bhengu   Transnet Port Terminals   Durban" userId="97380147-6f8d-4228-b37a-4680380c2fbf" providerId="ADAL" clId="{F3B7A7FB-CF2D-4345-96C3-A0DAFE0D0CE4}" dt="2025-04-14T11:33:42.940" v="434"/>
          <ac:spMkLst>
            <pc:docMk/>
            <pc:sldMk cId="2190344448" sldId="2085"/>
            <ac:spMk id="2" creationId="{38C7DF0D-CF3D-BC6E-2657-3E6DE238EA93}"/>
          </ac:spMkLst>
        </pc:spChg>
        <pc:spChg chg="mod">
          <ac:chgData name="Nosipho Bhengu   Transnet Port Terminals   Durban" userId="97380147-6f8d-4228-b37a-4680380c2fbf" providerId="ADAL" clId="{F3B7A7FB-CF2D-4345-96C3-A0DAFE0D0CE4}" dt="2025-04-14T11:30:40.194" v="416" actId="20577"/>
          <ac:spMkLst>
            <pc:docMk/>
            <pc:sldMk cId="2190344448" sldId="2085"/>
            <ac:spMk id="19" creationId="{5A7DDE8A-B245-7F8D-DA6F-32478A5A14BA}"/>
          </ac:spMkLst>
        </pc:spChg>
        <pc:spChg chg="mod">
          <ac:chgData name="Nosipho Bhengu   Transnet Port Terminals   Durban" userId="97380147-6f8d-4228-b37a-4680380c2fbf" providerId="ADAL" clId="{F3B7A7FB-CF2D-4345-96C3-A0DAFE0D0CE4}" dt="2025-04-14T12:08:57.931" v="1097" actId="207"/>
          <ac:spMkLst>
            <pc:docMk/>
            <pc:sldMk cId="2190344448" sldId="2085"/>
            <ac:spMk id="24" creationId="{F56F26D1-1979-4E75-BF61-3D4E4DF77D1D}"/>
          </ac:spMkLst>
        </pc:spChg>
        <pc:picChg chg="add del mod">
          <ac:chgData name="Nosipho Bhengu   Transnet Port Terminals   Durban" userId="97380147-6f8d-4228-b37a-4680380c2fbf" providerId="ADAL" clId="{F3B7A7FB-CF2D-4345-96C3-A0DAFE0D0CE4}" dt="2025-04-14T12:15:33.766" v="1211" actId="478"/>
          <ac:picMkLst>
            <pc:docMk/>
            <pc:sldMk cId="2190344448" sldId="2085"/>
            <ac:picMk id="4" creationId="{43465769-6ED6-DBB7-15BC-8846596DD0F6}"/>
          </ac:picMkLst>
        </pc:picChg>
        <pc:picChg chg="add del mod">
          <ac:chgData name="Nosipho Bhengu   Transnet Port Terminals   Durban" userId="97380147-6f8d-4228-b37a-4680380c2fbf" providerId="ADAL" clId="{F3B7A7FB-CF2D-4345-96C3-A0DAFE0D0CE4}" dt="2025-04-14T12:16:08.485" v="1216" actId="478"/>
          <ac:picMkLst>
            <pc:docMk/>
            <pc:sldMk cId="2190344448" sldId="2085"/>
            <ac:picMk id="6" creationId="{DDFAEF34-D33A-70F0-1BE3-A20C3D0F9D0F}"/>
          </ac:picMkLst>
        </pc:picChg>
        <pc:picChg chg="add mod">
          <ac:chgData name="Nosipho Bhengu   Transnet Port Terminals   Durban" userId="97380147-6f8d-4228-b37a-4680380c2fbf" providerId="ADAL" clId="{F3B7A7FB-CF2D-4345-96C3-A0DAFE0D0CE4}" dt="2025-04-14T12:17:03.232" v="1223" actId="1076"/>
          <ac:picMkLst>
            <pc:docMk/>
            <pc:sldMk cId="2190344448" sldId="2085"/>
            <ac:picMk id="8" creationId="{C37D3DDE-E2A4-01FE-7ADB-9CF5C2772BE0}"/>
          </ac:picMkLst>
        </pc:picChg>
      </pc:sldChg>
      <pc:sldChg chg="delSp modSp del mod">
        <pc:chgData name="Nosipho Bhengu   Transnet Port Terminals   Durban" userId="97380147-6f8d-4228-b37a-4680380c2fbf" providerId="ADAL" clId="{F3B7A7FB-CF2D-4345-96C3-A0DAFE0D0CE4}" dt="2025-04-14T14:04:48.549" v="3366" actId="47"/>
        <pc:sldMkLst>
          <pc:docMk/>
          <pc:sldMk cId="2253321967" sldId="2092"/>
        </pc:sldMkLst>
        <pc:spChg chg="mod">
          <ac:chgData name="Nosipho Bhengu   Transnet Port Terminals   Durban" userId="97380147-6f8d-4228-b37a-4680380c2fbf" providerId="ADAL" clId="{F3B7A7FB-CF2D-4345-96C3-A0DAFE0D0CE4}" dt="2025-04-14T11:33:14.864" v="425"/>
          <ac:spMkLst>
            <pc:docMk/>
            <pc:sldMk cId="2253321967" sldId="2092"/>
            <ac:spMk id="2" creationId="{38C7DF0D-CF3D-BC6E-2657-3E6DE238EA93}"/>
          </ac:spMkLst>
        </pc:spChg>
        <pc:spChg chg="del">
          <ac:chgData name="Nosipho Bhengu   Transnet Port Terminals   Durban" userId="97380147-6f8d-4228-b37a-4680380c2fbf" providerId="ADAL" clId="{F3B7A7FB-CF2D-4345-96C3-A0DAFE0D0CE4}" dt="2025-04-14T13:08:41.458" v="2256" actId="478"/>
          <ac:spMkLst>
            <pc:docMk/>
            <pc:sldMk cId="2253321967" sldId="2092"/>
            <ac:spMk id="7" creationId="{81B0B3C5-F282-4C82-936E-92EC3B1C40C6}"/>
          </ac:spMkLst>
        </pc:spChg>
        <pc:spChg chg="del">
          <ac:chgData name="Nosipho Bhengu   Transnet Port Terminals   Durban" userId="97380147-6f8d-4228-b37a-4680380c2fbf" providerId="ADAL" clId="{F3B7A7FB-CF2D-4345-96C3-A0DAFE0D0CE4}" dt="2025-04-14T13:08:31.299" v="2249" actId="478"/>
          <ac:spMkLst>
            <pc:docMk/>
            <pc:sldMk cId="2253321967" sldId="2092"/>
            <ac:spMk id="15" creationId="{39712733-0381-E615-73F4-5EF87A04CD2A}"/>
          </ac:spMkLst>
        </pc:spChg>
        <pc:spChg chg="del">
          <ac:chgData name="Nosipho Bhengu   Transnet Port Terminals   Durban" userId="97380147-6f8d-4228-b37a-4680380c2fbf" providerId="ADAL" clId="{F3B7A7FB-CF2D-4345-96C3-A0DAFE0D0CE4}" dt="2025-04-14T13:08:34.028" v="2250" actId="478"/>
          <ac:spMkLst>
            <pc:docMk/>
            <pc:sldMk cId="2253321967" sldId="2092"/>
            <ac:spMk id="21" creationId="{1CDF850A-2CE4-F074-E066-4AD2901D795A}"/>
          </ac:spMkLst>
        </pc:spChg>
        <pc:picChg chg="del">
          <ac:chgData name="Nosipho Bhengu   Transnet Port Terminals   Durban" userId="97380147-6f8d-4228-b37a-4680380c2fbf" providerId="ADAL" clId="{F3B7A7FB-CF2D-4345-96C3-A0DAFE0D0CE4}" dt="2025-04-14T13:08:37.236" v="2253" actId="478"/>
          <ac:picMkLst>
            <pc:docMk/>
            <pc:sldMk cId="2253321967" sldId="2092"/>
            <ac:picMk id="4" creationId="{696897E3-B3BC-7C2D-115A-2834FA2BCAF7}"/>
          </ac:picMkLst>
        </pc:picChg>
        <pc:picChg chg="del">
          <ac:chgData name="Nosipho Bhengu   Transnet Port Terminals   Durban" userId="97380147-6f8d-4228-b37a-4680380c2fbf" providerId="ADAL" clId="{F3B7A7FB-CF2D-4345-96C3-A0DAFE0D0CE4}" dt="2025-04-14T13:08:38.679" v="2254" actId="478"/>
          <ac:picMkLst>
            <pc:docMk/>
            <pc:sldMk cId="2253321967" sldId="2092"/>
            <ac:picMk id="8" creationId="{57016D46-2779-BE59-6531-A8839146844B}"/>
          </ac:picMkLst>
        </pc:picChg>
        <pc:picChg chg="del">
          <ac:chgData name="Nosipho Bhengu   Transnet Port Terminals   Durban" userId="97380147-6f8d-4228-b37a-4680380c2fbf" providerId="ADAL" clId="{F3B7A7FB-CF2D-4345-96C3-A0DAFE0D0CE4}" dt="2025-04-14T13:08:35.354" v="2251" actId="478"/>
          <ac:picMkLst>
            <pc:docMk/>
            <pc:sldMk cId="2253321967" sldId="2092"/>
            <ac:picMk id="10" creationId="{B5498EFC-DB35-8B00-EC73-90729DFF9C94}"/>
          </ac:picMkLst>
        </pc:picChg>
        <pc:picChg chg="del">
          <ac:chgData name="Nosipho Bhengu   Transnet Port Terminals   Durban" userId="97380147-6f8d-4228-b37a-4680380c2fbf" providerId="ADAL" clId="{F3B7A7FB-CF2D-4345-96C3-A0DAFE0D0CE4}" dt="2025-04-14T13:08:36.377" v="2252" actId="478"/>
          <ac:picMkLst>
            <pc:docMk/>
            <pc:sldMk cId="2253321967" sldId="2092"/>
            <ac:picMk id="14" creationId="{791E2B63-7B3C-BFC7-44B7-B1121914F3E5}"/>
          </ac:picMkLst>
        </pc:picChg>
        <pc:picChg chg="del">
          <ac:chgData name="Nosipho Bhengu   Transnet Port Terminals   Durban" userId="97380147-6f8d-4228-b37a-4680380c2fbf" providerId="ADAL" clId="{F3B7A7FB-CF2D-4345-96C3-A0DAFE0D0CE4}" dt="2025-04-14T13:08:39.987" v="2255" actId="478"/>
          <ac:picMkLst>
            <pc:docMk/>
            <pc:sldMk cId="2253321967" sldId="2092"/>
            <ac:picMk id="20" creationId="{12E7BEB5-1269-9B11-6AF1-8114FA13BA4E}"/>
          </ac:picMkLst>
        </pc:picChg>
      </pc:sldChg>
      <pc:sldChg chg="modSp del mod">
        <pc:chgData name="Nosipho Bhengu   Transnet Port Terminals   Durban" userId="97380147-6f8d-4228-b37a-4680380c2fbf" providerId="ADAL" clId="{F3B7A7FB-CF2D-4345-96C3-A0DAFE0D0CE4}" dt="2025-04-14T12:48:55.172" v="1980" actId="47"/>
        <pc:sldMkLst>
          <pc:docMk/>
          <pc:sldMk cId="4170204537" sldId="2095"/>
        </pc:sldMkLst>
        <pc:spChg chg="mod">
          <ac:chgData name="Nosipho Bhengu   Transnet Port Terminals   Durban" userId="97380147-6f8d-4228-b37a-4680380c2fbf" providerId="ADAL" clId="{F3B7A7FB-CF2D-4345-96C3-A0DAFE0D0CE4}" dt="2025-04-14T11:33:26.122" v="428"/>
          <ac:spMkLst>
            <pc:docMk/>
            <pc:sldMk cId="4170204537" sldId="2095"/>
            <ac:spMk id="2" creationId="{38C7DF0D-CF3D-BC6E-2657-3E6DE238EA93}"/>
          </ac:spMkLst>
        </pc:spChg>
      </pc:sldChg>
      <pc:sldChg chg="modSp del mod">
        <pc:chgData name="Nosipho Bhengu   Transnet Port Terminals   Durban" userId="97380147-6f8d-4228-b37a-4680380c2fbf" providerId="ADAL" clId="{F3B7A7FB-CF2D-4345-96C3-A0DAFE0D0CE4}" dt="2025-04-14T12:48:54.369" v="1979" actId="47"/>
        <pc:sldMkLst>
          <pc:docMk/>
          <pc:sldMk cId="1725775553" sldId="2096"/>
        </pc:sldMkLst>
        <pc:spChg chg="mod">
          <ac:chgData name="Nosipho Bhengu   Transnet Port Terminals   Durban" userId="97380147-6f8d-4228-b37a-4680380c2fbf" providerId="ADAL" clId="{F3B7A7FB-CF2D-4345-96C3-A0DAFE0D0CE4}" dt="2025-04-14T11:33:28.818" v="429"/>
          <ac:spMkLst>
            <pc:docMk/>
            <pc:sldMk cId="1725775553" sldId="2096"/>
            <ac:spMk id="2" creationId="{38C7DF0D-CF3D-BC6E-2657-3E6DE238EA93}"/>
          </ac:spMkLst>
        </pc:spChg>
      </pc:sldChg>
      <pc:sldChg chg="modSp del mod">
        <pc:chgData name="Nosipho Bhengu   Transnet Port Terminals   Durban" userId="97380147-6f8d-4228-b37a-4680380c2fbf" providerId="ADAL" clId="{F3B7A7FB-CF2D-4345-96C3-A0DAFE0D0CE4}" dt="2025-04-14T12:48:53.451" v="1978" actId="47"/>
        <pc:sldMkLst>
          <pc:docMk/>
          <pc:sldMk cId="2424566592" sldId="2097"/>
        </pc:sldMkLst>
        <pc:spChg chg="mod">
          <ac:chgData name="Nosipho Bhengu   Transnet Port Terminals   Durban" userId="97380147-6f8d-4228-b37a-4680380c2fbf" providerId="ADAL" clId="{F3B7A7FB-CF2D-4345-96C3-A0DAFE0D0CE4}" dt="2025-04-14T11:33:31.610" v="430"/>
          <ac:spMkLst>
            <pc:docMk/>
            <pc:sldMk cId="2424566592" sldId="2097"/>
            <ac:spMk id="2" creationId="{38C7DF0D-CF3D-BC6E-2657-3E6DE238EA93}"/>
          </ac:spMkLst>
        </pc:spChg>
      </pc:sldChg>
      <pc:sldChg chg="addSp delSp modSp mod">
        <pc:chgData name="Nosipho Bhengu   Transnet Port Terminals   Durban" userId="97380147-6f8d-4228-b37a-4680380c2fbf" providerId="ADAL" clId="{F3B7A7FB-CF2D-4345-96C3-A0DAFE0D0CE4}" dt="2025-04-14T13:16:59.673" v="2312" actId="20577"/>
        <pc:sldMkLst>
          <pc:docMk/>
          <pc:sldMk cId="2337959193" sldId="2098"/>
        </pc:sldMkLst>
        <pc:spChg chg="mod">
          <ac:chgData name="Nosipho Bhengu   Transnet Port Terminals   Durban" userId="97380147-6f8d-4228-b37a-4680380c2fbf" providerId="ADAL" clId="{F3B7A7FB-CF2D-4345-96C3-A0DAFE0D0CE4}" dt="2025-04-14T11:33:59.964" v="440"/>
          <ac:spMkLst>
            <pc:docMk/>
            <pc:sldMk cId="2337959193" sldId="2098"/>
            <ac:spMk id="2" creationId="{29EBE23C-CABB-8709-B778-BF4488EC35A9}"/>
          </ac:spMkLst>
        </pc:spChg>
        <pc:spChg chg="mod">
          <ac:chgData name="Nosipho Bhengu   Transnet Port Terminals   Durban" userId="97380147-6f8d-4228-b37a-4680380c2fbf" providerId="ADAL" clId="{F3B7A7FB-CF2D-4345-96C3-A0DAFE0D0CE4}" dt="2025-04-14T10:36:47.689" v="166"/>
          <ac:spMkLst>
            <pc:docMk/>
            <pc:sldMk cId="2337959193" sldId="2098"/>
            <ac:spMk id="19" creationId="{0865A873-1F93-B640-BBAF-CB7431F54AF0}"/>
          </ac:spMkLst>
        </pc:spChg>
        <pc:graphicFrameChg chg="del">
          <ac:chgData name="Nosipho Bhengu   Transnet Port Terminals   Durban" userId="97380147-6f8d-4228-b37a-4680380c2fbf" providerId="ADAL" clId="{F3B7A7FB-CF2D-4345-96C3-A0DAFE0D0CE4}" dt="2025-04-14T10:38:39.206" v="182" actId="478"/>
          <ac:graphicFrameMkLst>
            <pc:docMk/>
            <pc:sldMk cId="2337959193" sldId="2098"/>
            <ac:graphicFrameMk id="3" creationId="{272D4512-1883-7835-F73D-79E5DF1D3636}"/>
          </ac:graphicFrameMkLst>
        </pc:graphicFrameChg>
        <pc:graphicFrameChg chg="add del mod">
          <ac:chgData name="Nosipho Bhengu   Transnet Port Terminals   Durban" userId="97380147-6f8d-4228-b37a-4680380c2fbf" providerId="ADAL" clId="{F3B7A7FB-CF2D-4345-96C3-A0DAFE0D0CE4}" dt="2025-04-14T10:48:13.837" v="252" actId="478"/>
          <ac:graphicFrameMkLst>
            <pc:docMk/>
            <pc:sldMk cId="2337959193" sldId="2098"/>
            <ac:graphicFrameMk id="4" creationId="{377A7711-4439-A91E-F1AD-89FE7F65219D}"/>
          </ac:graphicFrameMkLst>
        </pc:graphicFrameChg>
        <pc:graphicFrameChg chg="add del mod modGraphic">
          <ac:chgData name="Nosipho Bhengu   Transnet Port Terminals   Durban" userId="97380147-6f8d-4228-b37a-4680380c2fbf" providerId="ADAL" clId="{F3B7A7FB-CF2D-4345-96C3-A0DAFE0D0CE4}" dt="2025-04-14T10:53:30.562" v="296" actId="478"/>
          <ac:graphicFrameMkLst>
            <pc:docMk/>
            <pc:sldMk cId="2337959193" sldId="2098"/>
            <ac:graphicFrameMk id="5" creationId="{09810102-EA31-B554-DE7E-650EFE9582FC}"/>
          </ac:graphicFrameMkLst>
        </pc:graphicFrameChg>
        <pc:graphicFrameChg chg="del">
          <ac:chgData name="Nosipho Bhengu   Transnet Port Terminals   Durban" userId="97380147-6f8d-4228-b37a-4680380c2fbf" providerId="ADAL" clId="{F3B7A7FB-CF2D-4345-96C3-A0DAFE0D0CE4}" dt="2025-04-14T10:38:35.085" v="181" actId="478"/>
          <ac:graphicFrameMkLst>
            <pc:docMk/>
            <pc:sldMk cId="2337959193" sldId="2098"/>
            <ac:graphicFrameMk id="6" creationId="{DC5BAAB3-CE2E-8664-4479-2CA6C952B64D}"/>
          </ac:graphicFrameMkLst>
        </pc:graphicFrameChg>
        <pc:graphicFrameChg chg="add mod modGraphic">
          <ac:chgData name="Nosipho Bhengu   Transnet Port Terminals   Durban" userId="97380147-6f8d-4228-b37a-4680380c2fbf" providerId="ADAL" clId="{F3B7A7FB-CF2D-4345-96C3-A0DAFE0D0CE4}" dt="2025-04-14T13:16:59.673" v="2312" actId="20577"/>
          <ac:graphicFrameMkLst>
            <pc:docMk/>
            <pc:sldMk cId="2337959193" sldId="2098"/>
            <ac:graphicFrameMk id="7" creationId="{6BF6E108-D7DF-D227-FD94-AE3F5A115DC5}"/>
          </ac:graphicFrameMkLst>
        </pc:graphicFrameChg>
      </pc:sldChg>
      <pc:sldChg chg="addSp delSp modSp mod">
        <pc:chgData name="Nosipho Bhengu   Transnet Port Terminals   Durban" userId="97380147-6f8d-4228-b37a-4680380c2fbf" providerId="ADAL" clId="{F3B7A7FB-CF2D-4345-96C3-A0DAFE0D0CE4}" dt="2025-04-14T13:17:46.673" v="2323" actId="20577"/>
        <pc:sldMkLst>
          <pc:docMk/>
          <pc:sldMk cId="2858778564" sldId="2099"/>
        </pc:sldMkLst>
        <pc:spChg chg="mod">
          <ac:chgData name="Nosipho Bhengu   Transnet Port Terminals   Durban" userId="97380147-6f8d-4228-b37a-4680380c2fbf" providerId="ADAL" clId="{F3B7A7FB-CF2D-4345-96C3-A0DAFE0D0CE4}" dt="2025-04-14T11:33:57.748" v="439"/>
          <ac:spMkLst>
            <pc:docMk/>
            <pc:sldMk cId="2858778564" sldId="2099"/>
            <ac:spMk id="2" creationId="{29EBE23C-CABB-8709-B778-BF4488EC35A9}"/>
          </ac:spMkLst>
        </pc:spChg>
        <pc:spChg chg="mod">
          <ac:chgData name="Nosipho Bhengu   Transnet Port Terminals   Durban" userId="97380147-6f8d-4228-b37a-4680380c2fbf" providerId="ADAL" clId="{F3B7A7FB-CF2D-4345-96C3-A0DAFE0D0CE4}" dt="2025-04-14T10:36:42.527" v="165"/>
          <ac:spMkLst>
            <pc:docMk/>
            <pc:sldMk cId="2858778564" sldId="2099"/>
            <ac:spMk id="19" creationId="{0865A873-1F93-B640-BBAF-CB7431F54AF0}"/>
          </ac:spMkLst>
        </pc:spChg>
        <pc:graphicFrameChg chg="add del mod modGraphic">
          <ac:chgData name="Nosipho Bhengu   Transnet Port Terminals   Durban" userId="97380147-6f8d-4228-b37a-4680380c2fbf" providerId="ADAL" clId="{F3B7A7FB-CF2D-4345-96C3-A0DAFE0D0CE4}" dt="2025-04-14T10:52:31.033" v="285" actId="478"/>
          <ac:graphicFrameMkLst>
            <pc:docMk/>
            <pc:sldMk cId="2858778564" sldId="2099"/>
            <ac:graphicFrameMk id="3" creationId="{BD99F628-26C8-BBD7-5900-97817C93D9EE}"/>
          </ac:graphicFrameMkLst>
        </pc:graphicFrameChg>
        <pc:graphicFrameChg chg="add mod modGraphic">
          <ac:chgData name="Nosipho Bhengu   Transnet Port Terminals   Durban" userId="97380147-6f8d-4228-b37a-4680380c2fbf" providerId="ADAL" clId="{F3B7A7FB-CF2D-4345-96C3-A0DAFE0D0CE4}" dt="2025-04-14T13:17:46.673" v="2323" actId="20577"/>
          <ac:graphicFrameMkLst>
            <pc:docMk/>
            <pc:sldMk cId="2858778564" sldId="2099"/>
            <ac:graphicFrameMk id="4" creationId="{DE5152E1-E878-22D2-36A5-FB43B3D4B2E6}"/>
          </ac:graphicFrameMkLst>
        </pc:graphicFrameChg>
        <pc:graphicFrameChg chg="del">
          <ac:chgData name="Nosipho Bhengu   Transnet Port Terminals   Durban" userId="97380147-6f8d-4228-b37a-4680380c2fbf" providerId="ADAL" clId="{F3B7A7FB-CF2D-4345-96C3-A0DAFE0D0CE4}" dt="2025-04-14T10:38:16.462" v="180" actId="478"/>
          <ac:graphicFrameMkLst>
            <pc:docMk/>
            <pc:sldMk cId="2858778564" sldId="2099"/>
            <ac:graphicFrameMk id="6" creationId="{DC5BAAB3-CE2E-8664-4479-2CA6C952B64D}"/>
          </ac:graphicFrameMkLst>
        </pc:graphicFrameChg>
      </pc:sldChg>
      <pc:sldChg chg="addSp delSp modSp mod">
        <pc:chgData name="Nosipho Bhengu   Transnet Port Terminals   Durban" userId="97380147-6f8d-4228-b37a-4680380c2fbf" providerId="ADAL" clId="{F3B7A7FB-CF2D-4345-96C3-A0DAFE0D0CE4}" dt="2025-04-14T13:16:03.652" v="2304" actId="207"/>
        <pc:sldMkLst>
          <pc:docMk/>
          <pc:sldMk cId="4019878373" sldId="2100"/>
        </pc:sldMkLst>
        <pc:spChg chg="mod">
          <ac:chgData name="Nosipho Bhengu   Transnet Port Terminals   Durban" userId="97380147-6f8d-4228-b37a-4680380c2fbf" providerId="ADAL" clId="{F3B7A7FB-CF2D-4345-96C3-A0DAFE0D0CE4}" dt="2025-04-14T11:33:55.257" v="438"/>
          <ac:spMkLst>
            <pc:docMk/>
            <pc:sldMk cId="4019878373" sldId="2100"/>
            <ac:spMk id="2" creationId="{29EBE23C-CABB-8709-B778-BF4488EC35A9}"/>
          </ac:spMkLst>
        </pc:spChg>
        <pc:spChg chg="mod">
          <ac:chgData name="Nosipho Bhengu   Transnet Port Terminals   Durban" userId="97380147-6f8d-4228-b37a-4680380c2fbf" providerId="ADAL" clId="{F3B7A7FB-CF2D-4345-96C3-A0DAFE0D0CE4}" dt="2025-04-14T10:36:39.289" v="164"/>
          <ac:spMkLst>
            <pc:docMk/>
            <pc:sldMk cId="4019878373" sldId="2100"/>
            <ac:spMk id="19" creationId="{0865A873-1F93-B640-BBAF-CB7431F54AF0}"/>
          </ac:spMkLst>
        </pc:spChg>
        <pc:graphicFrameChg chg="add del mod modGraphic">
          <ac:chgData name="Nosipho Bhengu   Transnet Port Terminals   Durban" userId="97380147-6f8d-4228-b37a-4680380c2fbf" providerId="ADAL" clId="{F3B7A7FB-CF2D-4345-96C3-A0DAFE0D0CE4}" dt="2025-04-14T10:51:37.974" v="278" actId="478"/>
          <ac:graphicFrameMkLst>
            <pc:docMk/>
            <pc:sldMk cId="4019878373" sldId="2100"/>
            <ac:graphicFrameMk id="3" creationId="{1B799E23-6CCD-BA7B-AE98-62E594C94D33}"/>
          </ac:graphicFrameMkLst>
        </pc:graphicFrameChg>
        <pc:graphicFrameChg chg="add mod">
          <ac:chgData name="Nosipho Bhengu   Transnet Port Terminals   Durban" userId="97380147-6f8d-4228-b37a-4680380c2fbf" providerId="ADAL" clId="{F3B7A7FB-CF2D-4345-96C3-A0DAFE0D0CE4}" dt="2025-04-14T10:51:58.185" v="279"/>
          <ac:graphicFrameMkLst>
            <pc:docMk/>
            <pc:sldMk cId="4019878373" sldId="2100"/>
            <ac:graphicFrameMk id="4" creationId="{DD3FC7A7-64A2-B990-6AFD-663707A0D124}"/>
          </ac:graphicFrameMkLst>
        </pc:graphicFrameChg>
        <pc:graphicFrameChg chg="add mod modGraphic">
          <ac:chgData name="Nosipho Bhengu   Transnet Port Terminals   Durban" userId="97380147-6f8d-4228-b37a-4680380c2fbf" providerId="ADAL" clId="{F3B7A7FB-CF2D-4345-96C3-A0DAFE0D0CE4}" dt="2025-04-14T13:16:03.652" v="2304" actId="207"/>
          <ac:graphicFrameMkLst>
            <pc:docMk/>
            <pc:sldMk cId="4019878373" sldId="2100"/>
            <ac:graphicFrameMk id="5" creationId="{F868C9C4-6113-EF59-8780-7D3A46D9FC38}"/>
          </ac:graphicFrameMkLst>
        </pc:graphicFrameChg>
        <pc:graphicFrameChg chg="del">
          <ac:chgData name="Nosipho Bhengu   Transnet Port Terminals   Durban" userId="97380147-6f8d-4228-b37a-4680380c2fbf" providerId="ADAL" clId="{F3B7A7FB-CF2D-4345-96C3-A0DAFE0D0CE4}" dt="2025-04-14T10:38:09.379" v="179" actId="478"/>
          <ac:graphicFrameMkLst>
            <pc:docMk/>
            <pc:sldMk cId="4019878373" sldId="2100"/>
            <ac:graphicFrameMk id="6" creationId="{DC5BAAB3-CE2E-8664-4479-2CA6C952B64D}"/>
          </ac:graphicFrameMkLst>
        </pc:graphicFrameChg>
      </pc:sldChg>
      <pc:sldChg chg="addSp delSp modSp mod">
        <pc:chgData name="Nosipho Bhengu   Transnet Port Terminals   Durban" userId="97380147-6f8d-4228-b37a-4680380c2fbf" providerId="ADAL" clId="{F3B7A7FB-CF2D-4345-96C3-A0DAFE0D0CE4}" dt="2025-04-14T13:18:03.673" v="2326" actId="207"/>
        <pc:sldMkLst>
          <pc:docMk/>
          <pc:sldMk cId="4273976434" sldId="2101"/>
        </pc:sldMkLst>
        <pc:spChg chg="mod">
          <ac:chgData name="Nosipho Bhengu   Transnet Port Terminals   Durban" userId="97380147-6f8d-4228-b37a-4680380c2fbf" providerId="ADAL" clId="{F3B7A7FB-CF2D-4345-96C3-A0DAFE0D0CE4}" dt="2025-04-14T11:33:53.112" v="437"/>
          <ac:spMkLst>
            <pc:docMk/>
            <pc:sldMk cId="4273976434" sldId="2101"/>
            <ac:spMk id="2" creationId="{29EBE23C-CABB-8709-B778-BF4488EC35A9}"/>
          </ac:spMkLst>
        </pc:spChg>
        <pc:spChg chg="mod">
          <ac:chgData name="Nosipho Bhengu   Transnet Port Terminals   Durban" userId="97380147-6f8d-4228-b37a-4680380c2fbf" providerId="ADAL" clId="{F3B7A7FB-CF2D-4345-96C3-A0DAFE0D0CE4}" dt="2025-04-14T10:36:35.798" v="163"/>
          <ac:spMkLst>
            <pc:docMk/>
            <pc:sldMk cId="4273976434" sldId="2101"/>
            <ac:spMk id="19" creationId="{0865A873-1F93-B640-BBAF-CB7431F54AF0}"/>
          </ac:spMkLst>
        </pc:spChg>
        <pc:graphicFrameChg chg="add del mod modGraphic">
          <ac:chgData name="Nosipho Bhengu   Transnet Port Terminals   Durban" userId="97380147-6f8d-4228-b37a-4680380c2fbf" providerId="ADAL" clId="{F3B7A7FB-CF2D-4345-96C3-A0DAFE0D0CE4}" dt="2025-04-14T10:51:02.961" v="270" actId="478"/>
          <ac:graphicFrameMkLst>
            <pc:docMk/>
            <pc:sldMk cId="4273976434" sldId="2101"/>
            <ac:graphicFrameMk id="3" creationId="{CD62296F-79B5-2A13-C58D-EEAE534F9A44}"/>
          </ac:graphicFrameMkLst>
        </pc:graphicFrameChg>
        <pc:graphicFrameChg chg="add mod modGraphic">
          <ac:chgData name="Nosipho Bhengu   Transnet Port Terminals   Durban" userId="97380147-6f8d-4228-b37a-4680380c2fbf" providerId="ADAL" clId="{F3B7A7FB-CF2D-4345-96C3-A0DAFE0D0CE4}" dt="2025-04-14T13:18:03.673" v="2326" actId="207"/>
          <ac:graphicFrameMkLst>
            <pc:docMk/>
            <pc:sldMk cId="4273976434" sldId="2101"/>
            <ac:graphicFrameMk id="4" creationId="{34BE92EE-6EDF-A2C2-F33C-940D17A2072D}"/>
          </ac:graphicFrameMkLst>
        </pc:graphicFrameChg>
        <pc:graphicFrameChg chg="del">
          <ac:chgData name="Nosipho Bhengu   Transnet Port Terminals   Durban" userId="97380147-6f8d-4228-b37a-4680380c2fbf" providerId="ADAL" clId="{F3B7A7FB-CF2D-4345-96C3-A0DAFE0D0CE4}" dt="2025-04-14T10:38:05.473" v="178" actId="478"/>
          <ac:graphicFrameMkLst>
            <pc:docMk/>
            <pc:sldMk cId="4273976434" sldId="2101"/>
            <ac:graphicFrameMk id="6" creationId="{DC5BAAB3-CE2E-8664-4479-2CA6C952B64D}"/>
          </ac:graphicFrameMkLst>
        </pc:graphicFrameChg>
      </pc:sldChg>
      <pc:sldChg chg="addSp delSp modSp mod">
        <pc:chgData name="Nosipho Bhengu   Transnet Port Terminals   Durban" userId="97380147-6f8d-4228-b37a-4680380c2fbf" providerId="ADAL" clId="{F3B7A7FB-CF2D-4345-96C3-A0DAFE0D0CE4}" dt="2025-04-14T11:33:50.185" v="436"/>
        <pc:sldMkLst>
          <pc:docMk/>
          <pc:sldMk cId="3828851222" sldId="2102"/>
        </pc:sldMkLst>
        <pc:spChg chg="mod">
          <ac:chgData name="Nosipho Bhengu   Transnet Port Terminals   Durban" userId="97380147-6f8d-4228-b37a-4680380c2fbf" providerId="ADAL" clId="{F3B7A7FB-CF2D-4345-96C3-A0DAFE0D0CE4}" dt="2025-04-14T11:33:50.185" v="436"/>
          <ac:spMkLst>
            <pc:docMk/>
            <pc:sldMk cId="3828851222" sldId="2102"/>
            <ac:spMk id="2" creationId="{8BB84398-0A80-386F-3090-3BF89D9B8FF4}"/>
          </ac:spMkLst>
        </pc:spChg>
        <pc:spChg chg="mod">
          <ac:chgData name="Nosipho Bhengu   Transnet Port Terminals   Durban" userId="97380147-6f8d-4228-b37a-4680380c2fbf" providerId="ADAL" clId="{F3B7A7FB-CF2D-4345-96C3-A0DAFE0D0CE4}" dt="2025-04-14T10:36:32.251" v="162"/>
          <ac:spMkLst>
            <pc:docMk/>
            <pc:sldMk cId="3828851222" sldId="2102"/>
            <ac:spMk id="19" creationId="{DA01149D-3F9B-4812-D912-A070954054F9}"/>
          </ac:spMkLst>
        </pc:spChg>
        <pc:graphicFrameChg chg="add mod modGraphic">
          <ac:chgData name="Nosipho Bhengu   Transnet Port Terminals   Durban" userId="97380147-6f8d-4228-b37a-4680380c2fbf" providerId="ADAL" clId="{F3B7A7FB-CF2D-4345-96C3-A0DAFE0D0CE4}" dt="2025-04-14T10:45:54.233" v="235" actId="1076"/>
          <ac:graphicFrameMkLst>
            <pc:docMk/>
            <pc:sldMk cId="3828851222" sldId="2102"/>
            <ac:graphicFrameMk id="3" creationId="{26476239-52AA-CDE1-274E-5D471B04B561}"/>
          </ac:graphicFrameMkLst>
        </pc:graphicFrameChg>
        <pc:graphicFrameChg chg="del">
          <ac:chgData name="Nosipho Bhengu   Transnet Port Terminals   Durban" userId="97380147-6f8d-4228-b37a-4680380c2fbf" providerId="ADAL" clId="{F3B7A7FB-CF2D-4345-96C3-A0DAFE0D0CE4}" dt="2025-04-14T10:37:28.304" v="172" actId="478"/>
          <ac:graphicFrameMkLst>
            <pc:docMk/>
            <pc:sldMk cId="3828851222" sldId="2102"/>
            <ac:graphicFrameMk id="6" creationId="{02C43F86-A4FB-5370-289D-7DB47833B8C6}"/>
          </ac:graphicFrameMkLst>
        </pc:graphicFrameChg>
      </pc:sldChg>
      <pc:sldChg chg="addSp delSp modSp mod">
        <pc:chgData name="Nosipho Bhengu   Transnet Port Terminals   Durban" userId="97380147-6f8d-4228-b37a-4680380c2fbf" providerId="ADAL" clId="{F3B7A7FB-CF2D-4345-96C3-A0DAFE0D0CE4}" dt="2025-04-14T11:31:52.119" v="420" actId="20577"/>
        <pc:sldMkLst>
          <pc:docMk/>
          <pc:sldMk cId="3477717531" sldId="2103"/>
        </pc:sldMkLst>
        <pc:spChg chg="mod">
          <ac:chgData name="Nosipho Bhengu   Transnet Port Terminals   Durban" userId="97380147-6f8d-4228-b37a-4680380c2fbf" providerId="ADAL" clId="{F3B7A7FB-CF2D-4345-96C3-A0DAFE0D0CE4}" dt="2025-04-14T11:31:52.119" v="420" actId="20577"/>
          <ac:spMkLst>
            <pc:docMk/>
            <pc:sldMk cId="3477717531" sldId="2103"/>
            <ac:spMk id="2" creationId="{38C7DF0D-CF3D-BC6E-2657-3E6DE238EA93}"/>
          </ac:spMkLst>
        </pc:spChg>
        <pc:spChg chg="mod">
          <ac:chgData name="Nosipho Bhengu   Transnet Port Terminals   Durban" userId="97380147-6f8d-4228-b37a-4680380c2fbf" providerId="ADAL" clId="{F3B7A7FB-CF2D-4345-96C3-A0DAFE0D0CE4}" dt="2025-04-14T10:36:19.394" v="161" actId="20577"/>
          <ac:spMkLst>
            <pc:docMk/>
            <pc:sldMk cId="3477717531" sldId="2103"/>
            <ac:spMk id="19" creationId="{5A7DDE8A-B245-7F8D-DA6F-32478A5A14BA}"/>
          </ac:spMkLst>
        </pc:spChg>
        <pc:graphicFrameChg chg="add del mod modGraphic">
          <ac:chgData name="Nosipho Bhengu   Transnet Port Terminals   Durban" userId="97380147-6f8d-4228-b37a-4680380c2fbf" providerId="ADAL" clId="{F3B7A7FB-CF2D-4345-96C3-A0DAFE0D0CE4}" dt="2025-04-14T10:35:59.392" v="142" actId="478"/>
          <ac:graphicFrameMkLst>
            <pc:docMk/>
            <pc:sldMk cId="3477717531" sldId="2103"/>
            <ac:graphicFrameMk id="3" creationId="{03260F09-51C2-7A85-C451-BC2978FF08F4}"/>
          </ac:graphicFrameMkLst>
        </pc:graphicFrameChg>
        <pc:graphicFrameChg chg="add mod modGraphic">
          <ac:chgData name="Nosipho Bhengu   Transnet Port Terminals   Durban" userId="97380147-6f8d-4228-b37a-4680380c2fbf" providerId="ADAL" clId="{F3B7A7FB-CF2D-4345-96C3-A0DAFE0D0CE4}" dt="2025-04-14T10:45:48.249" v="234" actId="1076"/>
          <ac:graphicFrameMkLst>
            <pc:docMk/>
            <pc:sldMk cId="3477717531" sldId="2103"/>
            <ac:graphicFrameMk id="4" creationId="{73B7A566-A2F7-5482-472E-A64E2B181417}"/>
          </ac:graphicFrameMkLst>
        </pc:graphicFrameChg>
        <pc:graphicFrameChg chg="del">
          <ac:chgData name="Nosipho Bhengu   Transnet Port Terminals   Durban" userId="97380147-6f8d-4228-b37a-4680380c2fbf" providerId="ADAL" clId="{F3B7A7FB-CF2D-4345-96C3-A0DAFE0D0CE4}" dt="2025-04-14T10:35:14.517" v="136" actId="478"/>
          <ac:graphicFrameMkLst>
            <pc:docMk/>
            <pc:sldMk cId="3477717531" sldId="2103"/>
            <ac:graphicFrameMk id="6" creationId="{B2DE00EC-65CE-1CED-E81A-1258D46E46C9}"/>
          </ac:graphicFrameMkLst>
        </pc:graphicFrameChg>
      </pc:sldChg>
      <pc:sldChg chg="modSp del mod">
        <pc:chgData name="Nosipho Bhengu   Transnet Port Terminals   Durban" userId="97380147-6f8d-4228-b37a-4680380c2fbf" providerId="ADAL" clId="{F3B7A7FB-CF2D-4345-96C3-A0DAFE0D0CE4}" dt="2025-04-14T12:48:51.453" v="1977" actId="47"/>
        <pc:sldMkLst>
          <pc:docMk/>
          <pc:sldMk cId="396151816" sldId="2104"/>
        </pc:sldMkLst>
        <pc:spChg chg="mod">
          <ac:chgData name="Nosipho Bhengu   Transnet Port Terminals   Durban" userId="97380147-6f8d-4228-b37a-4680380c2fbf" providerId="ADAL" clId="{F3B7A7FB-CF2D-4345-96C3-A0DAFE0D0CE4}" dt="2025-04-14T11:33:34.405" v="431"/>
          <ac:spMkLst>
            <pc:docMk/>
            <pc:sldMk cId="396151816" sldId="2104"/>
            <ac:spMk id="2" creationId="{38C7DF0D-CF3D-BC6E-2657-3E6DE238EA93}"/>
          </ac:spMkLst>
        </pc:spChg>
      </pc:sldChg>
      <pc:sldChg chg="delSp modSp mod">
        <pc:chgData name="Nosipho Bhengu   Transnet Port Terminals   Durban" userId="97380147-6f8d-4228-b37a-4680380c2fbf" providerId="ADAL" clId="{F3B7A7FB-CF2D-4345-96C3-A0DAFE0D0CE4}" dt="2025-04-14T13:10:25.468" v="2263" actId="478"/>
        <pc:sldMkLst>
          <pc:docMk/>
          <pc:sldMk cId="602352385" sldId="2105"/>
        </pc:sldMkLst>
        <pc:spChg chg="mod">
          <ac:chgData name="Nosipho Bhengu   Transnet Port Terminals   Durban" userId="97380147-6f8d-4228-b37a-4680380c2fbf" providerId="ADAL" clId="{F3B7A7FB-CF2D-4345-96C3-A0DAFE0D0CE4}" dt="2025-04-14T11:33:37.198" v="432"/>
          <ac:spMkLst>
            <pc:docMk/>
            <pc:sldMk cId="602352385" sldId="2105"/>
            <ac:spMk id="2" creationId="{38C7DF0D-CF3D-BC6E-2657-3E6DE238EA93}"/>
          </ac:spMkLst>
        </pc:spChg>
        <pc:spChg chg="del">
          <ac:chgData name="Nosipho Bhengu   Transnet Port Terminals   Durban" userId="97380147-6f8d-4228-b37a-4680380c2fbf" providerId="ADAL" clId="{F3B7A7FB-CF2D-4345-96C3-A0DAFE0D0CE4}" dt="2025-04-14T13:10:22.659" v="2262" actId="478"/>
          <ac:spMkLst>
            <pc:docMk/>
            <pc:sldMk cId="602352385" sldId="2105"/>
            <ac:spMk id="9" creationId="{C522FEBE-4B00-D5CE-67D3-1BAAD5A0340E}"/>
          </ac:spMkLst>
        </pc:spChg>
        <pc:spChg chg="del">
          <ac:chgData name="Nosipho Bhengu   Transnet Port Terminals   Durban" userId="97380147-6f8d-4228-b37a-4680380c2fbf" providerId="ADAL" clId="{F3B7A7FB-CF2D-4345-96C3-A0DAFE0D0CE4}" dt="2025-04-14T13:10:25.468" v="2263" actId="478"/>
          <ac:spMkLst>
            <pc:docMk/>
            <pc:sldMk cId="602352385" sldId="2105"/>
            <ac:spMk id="12" creationId="{7ECF5678-F6A7-405B-476F-39A601756D37}"/>
          </ac:spMkLst>
        </pc:spChg>
      </pc:sldChg>
      <pc:sldChg chg="addSp delSp modSp mod modClrScheme chgLayout">
        <pc:chgData name="Nosipho Bhengu   Transnet Port Terminals   Durban" userId="97380147-6f8d-4228-b37a-4680380c2fbf" providerId="ADAL" clId="{F3B7A7FB-CF2D-4345-96C3-A0DAFE0D0CE4}" dt="2025-04-14T13:12:50.019" v="2277" actId="2711"/>
        <pc:sldMkLst>
          <pc:docMk/>
          <pc:sldMk cId="2919385459" sldId="2106"/>
        </pc:sldMkLst>
        <pc:spChg chg="mod ord">
          <ac:chgData name="Nosipho Bhengu   Transnet Port Terminals   Durban" userId="97380147-6f8d-4228-b37a-4680380c2fbf" providerId="ADAL" clId="{F3B7A7FB-CF2D-4345-96C3-A0DAFE0D0CE4}" dt="2025-04-14T13:10:11.774" v="2261" actId="26606"/>
          <ac:spMkLst>
            <pc:docMk/>
            <pc:sldMk cId="2919385459" sldId="2106"/>
            <ac:spMk id="2" creationId="{38C7DF0D-CF3D-BC6E-2657-3E6DE238EA93}"/>
          </ac:spMkLst>
        </pc:spChg>
        <pc:spChg chg="del">
          <ac:chgData name="Nosipho Bhengu   Transnet Port Terminals   Durban" userId="97380147-6f8d-4228-b37a-4680380c2fbf" providerId="ADAL" clId="{F3B7A7FB-CF2D-4345-96C3-A0DAFE0D0CE4}" dt="2025-04-14T13:09:58.716" v="2258" actId="478"/>
          <ac:spMkLst>
            <pc:docMk/>
            <pc:sldMk cId="2919385459" sldId="2106"/>
            <ac:spMk id="4" creationId="{A5DE48DE-844E-4D97-3A60-C40F4FD65F88}"/>
          </ac:spMkLst>
        </pc:spChg>
        <pc:spChg chg="del">
          <ac:chgData name="Nosipho Bhengu   Transnet Port Terminals   Durban" userId="97380147-6f8d-4228-b37a-4680380c2fbf" providerId="ADAL" clId="{F3B7A7FB-CF2D-4345-96C3-A0DAFE0D0CE4}" dt="2025-04-14T12:58:02.418" v="2171" actId="478"/>
          <ac:spMkLst>
            <pc:docMk/>
            <pc:sldMk cId="2919385459" sldId="2106"/>
            <ac:spMk id="9" creationId="{C522FEBE-4B00-D5CE-67D3-1BAAD5A0340E}"/>
          </ac:spMkLst>
        </pc:spChg>
        <pc:spChg chg="mod ord">
          <ac:chgData name="Nosipho Bhengu   Transnet Port Terminals   Durban" userId="97380147-6f8d-4228-b37a-4680380c2fbf" providerId="ADAL" clId="{F3B7A7FB-CF2D-4345-96C3-A0DAFE0D0CE4}" dt="2025-04-14T13:12:50.019" v="2277" actId="2711"/>
          <ac:spMkLst>
            <pc:docMk/>
            <pc:sldMk cId="2919385459" sldId="2106"/>
            <ac:spMk id="19" creationId="{5A7DDE8A-B245-7F8D-DA6F-32478A5A14BA}"/>
          </ac:spMkLst>
        </pc:spChg>
        <pc:graphicFrameChg chg="del">
          <ac:chgData name="Nosipho Bhengu   Transnet Port Terminals   Durban" userId="97380147-6f8d-4228-b37a-4680380c2fbf" providerId="ADAL" clId="{F3B7A7FB-CF2D-4345-96C3-A0DAFE0D0CE4}" dt="2025-04-14T12:58:00.267" v="2170" actId="478"/>
          <ac:graphicFrameMkLst>
            <pc:docMk/>
            <pc:sldMk cId="2919385459" sldId="2106"/>
            <ac:graphicFrameMk id="3" creationId="{FAC582A1-B4D6-F3C6-6308-FA43BDD020D3}"/>
          </ac:graphicFrameMkLst>
        </pc:graphicFrameChg>
        <pc:picChg chg="add mod">
          <ac:chgData name="Nosipho Bhengu   Transnet Port Terminals   Durban" userId="97380147-6f8d-4228-b37a-4680380c2fbf" providerId="ADAL" clId="{F3B7A7FB-CF2D-4345-96C3-A0DAFE0D0CE4}" dt="2025-04-14T13:12:21.641" v="2271" actId="14100"/>
          <ac:picMkLst>
            <pc:docMk/>
            <pc:sldMk cId="2919385459" sldId="2106"/>
            <ac:picMk id="5" creationId="{5EEF6503-7F02-B233-4120-E6DFE42181F8}"/>
          </ac:picMkLst>
        </pc:picChg>
      </pc:sldChg>
      <pc:sldChg chg="addSp delSp modSp add mod">
        <pc:chgData name="Nosipho Bhengu   Transnet Port Terminals   Durban" userId="97380147-6f8d-4228-b37a-4680380c2fbf" providerId="ADAL" clId="{F3B7A7FB-CF2D-4345-96C3-A0DAFE0D0CE4}" dt="2025-04-14T13:18:41.306" v="2329" actId="207"/>
        <pc:sldMkLst>
          <pc:docMk/>
          <pc:sldMk cId="1566104711" sldId="2107"/>
        </pc:sldMkLst>
        <pc:spChg chg="mod">
          <ac:chgData name="Nosipho Bhengu   Transnet Port Terminals   Durban" userId="97380147-6f8d-4228-b37a-4680380c2fbf" providerId="ADAL" clId="{F3B7A7FB-CF2D-4345-96C3-A0DAFE0D0CE4}" dt="2025-04-14T11:34:01.981" v="441"/>
          <ac:spMkLst>
            <pc:docMk/>
            <pc:sldMk cId="1566104711" sldId="2107"/>
            <ac:spMk id="2" creationId="{9DD980FB-8AE7-A394-C0FE-95F76D91AD8D}"/>
          </ac:spMkLst>
        </pc:spChg>
        <pc:graphicFrameChg chg="add del mod">
          <ac:chgData name="Nosipho Bhengu   Transnet Port Terminals   Durban" userId="97380147-6f8d-4228-b37a-4680380c2fbf" providerId="ADAL" clId="{F3B7A7FB-CF2D-4345-96C3-A0DAFE0D0CE4}" dt="2025-04-14T10:48:39.306" v="254" actId="478"/>
          <ac:graphicFrameMkLst>
            <pc:docMk/>
            <pc:sldMk cId="1566104711" sldId="2107"/>
            <ac:graphicFrameMk id="3" creationId="{15040C77-6EF5-9D88-2C7E-32EC524A0B8D}"/>
          </ac:graphicFrameMkLst>
        </pc:graphicFrameChg>
        <pc:graphicFrameChg chg="add del mod">
          <ac:chgData name="Nosipho Bhengu   Transnet Port Terminals   Durban" userId="97380147-6f8d-4228-b37a-4680380c2fbf" providerId="ADAL" clId="{F3B7A7FB-CF2D-4345-96C3-A0DAFE0D0CE4}" dt="2025-04-14T10:54:13.806" v="306" actId="478"/>
          <ac:graphicFrameMkLst>
            <pc:docMk/>
            <pc:sldMk cId="1566104711" sldId="2107"/>
            <ac:graphicFrameMk id="4" creationId="{ED32A82A-81F6-F574-8F07-C73158738A81}"/>
          </ac:graphicFrameMkLst>
        </pc:graphicFrameChg>
        <pc:graphicFrameChg chg="add mod modGraphic">
          <ac:chgData name="Nosipho Bhengu   Transnet Port Terminals   Durban" userId="97380147-6f8d-4228-b37a-4680380c2fbf" providerId="ADAL" clId="{F3B7A7FB-CF2D-4345-96C3-A0DAFE0D0CE4}" dt="2025-04-14T13:18:41.306" v="2329" actId="207"/>
          <ac:graphicFrameMkLst>
            <pc:docMk/>
            <pc:sldMk cId="1566104711" sldId="2107"/>
            <ac:graphicFrameMk id="5" creationId="{6BFB826B-6B05-594F-FC87-205B70E651BB}"/>
          </ac:graphicFrameMkLst>
        </pc:graphicFrameChg>
      </pc:sldChg>
      <pc:sldChg chg="addSp delSp modSp add mod">
        <pc:chgData name="Nosipho Bhengu   Transnet Port Terminals   Durban" userId="97380147-6f8d-4228-b37a-4680380c2fbf" providerId="ADAL" clId="{F3B7A7FB-CF2D-4345-96C3-A0DAFE0D0CE4}" dt="2025-04-14T13:19:15.413" v="2332" actId="207"/>
        <pc:sldMkLst>
          <pc:docMk/>
          <pc:sldMk cId="2625942095" sldId="2108"/>
        </pc:sldMkLst>
        <pc:spChg chg="mod">
          <ac:chgData name="Nosipho Bhengu   Transnet Port Terminals   Durban" userId="97380147-6f8d-4228-b37a-4680380c2fbf" providerId="ADAL" clId="{F3B7A7FB-CF2D-4345-96C3-A0DAFE0D0CE4}" dt="2025-04-14T11:34:04.285" v="442"/>
          <ac:spMkLst>
            <pc:docMk/>
            <pc:sldMk cId="2625942095" sldId="2108"/>
            <ac:spMk id="2" creationId="{DF984F10-A67F-9A29-5F04-1E49AF569F1E}"/>
          </ac:spMkLst>
        </pc:spChg>
        <pc:graphicFrameChg chg="add del mod">
          <ac:chgData name="Nosipho Bhengu   Transnet Port Terminals   Durban" userId="97380147-6f8d-4228-b37a-4680380c2fbf" providerId="ADAL" clId="{F3B7A7FB-CF2D-4345-96C3-A0DAFE0D0CE4}" dt="2025-04-14T10:54:57.764" v="316" actId="478"/>
          <ac:graphicFrameMkLst>
            <pc:docMk/>
            <pc:sldMk cId="2625942095" sldId="2108"/>
            <ac:graphicFrameMk id="3" creationId="{1D25E4C9-36DF-392B-6FEA-CC81C7B1980C}"/>
          </ac:graphicFrameMkLst>
        </pc:graphicFrameChg>
        <pc:graphicFrameChg chg="add mod modGraphic">
          <ac:chgData name="Nosipho Bhengu   Transnet Port Terminals   Durban" userId="97380147-6f8d-4228-b37a-4680380c2fbf" providerId="ADAL" clId="{F3B7A7FB-CF2D-4345-96C3-A0DAFE0D0CE4}" dt="2025-04-14T13:19:15.413" v="2332" actId="207"/>
          <ac:graphicFrameMkLst>
            <pc:docMk/>
            <pc:sldMk cId="2625942095" sldId="2108"/>
            <ac:graphicFrameMk id="4" creationId="{A389E3CA-0DB3-F3FC-049F-BE6EE02C2FAF}"/>
          </ac:graphicFrameMkLst>
        </pc:graphicFrameChg>
      </pc:sldChg>
      <pc:sldChg chg="addSp delSp modSp add mod">
        <pc:chgData name="Nosipho Bhengu   Transnet Port Terminals   Durban" userId="97380147-6f8d-4228-b37a-4680380c2fbf" providerId="ADAL" clId="{F3B7A7FB-CF2D-4345-96C3-A0DAFE0D0CE4}" dt="2025-04-14T13:19:43.219" v="2336" actId="207"/>
        <pc:sldMkLst>
          <pc:docMk/>
          <pc:sldMk cId="2252071721" sldId="2109"/>
        </pc:sldMkLst>
        <pc:spChg chg="mod">
          <ac:chgData name="Nosipho Bhengu   Transnet Port Terminals   Durban" userId="97380147-6f8d-4228-b37a-4680380c2fbf" providerId="ADAL" clId="{F3B7A7FB-CF2D-4345-96C3-A0DAFE0D0CE4}" dt="2025-04-14T11:34:06.672" v="443"/>
          <ac:spMkLst>
            <pc:docMk/>
            <pc:sldMk cId="2252071721" sldId="2109"/>
            <ac:spMk id="2" creationId="{0BF5BEA4-F3A4-C1C1-C40B-452BA123DBCD}"/>
          </ac:spMkLst>
        </pc:spChg>
        <pc:spChg chg="add del">
          <ac:chgData name="Nosipho Bhengu   Transnet Port Terminals   Durban" userId="97380147-6f8d-4228-b37a-4680380c2fbf" providerId="ADAL" clId="{F3B7A7FB-CF2D-4345-96C3-A0DAFE0D0CE4}" dt="2025-04-14T10:49:45.873" v="263" actId="22"/>
          <ac:spMkLst>
            <pc:docMk/>
            <pc:sldMk cId="2252071721" sldId="2109"/>
            <ac:spMk id="6" creationId="{19FA60CA-D4E0-6BBC-4831-701B04ABE452}"/>
          </ac:spMkLst>
        </pc:spChg>
        <pc:spChg chg="add mod">
          <ac:chgData name="Nosipho Bhengu   Transnet Port Terminals   Durban" userId="97380147-6f8d-4228-b37a-4680380c2fbf" providerId="ADAL" clId="{F3B7A7FB-CF2D-4345-96C3-A0DAFE0D0CE4}" dt="2025-04-14T10:49:57.856" v="267"/>
          <ac:spMkLst>
            <pc:docMk/>
            <pc:sldMk cId="2252071721" sldId="2109"/>
            <ac:spMk id="10" creationId="{38F0D002-01C1-F060-B96A-BF3858106D20}"/>
          </ac:spMkLst>
        </pc:spChg>
        <pc:graphicFrameChg chg="add mod">
          <ac:chgData name="Nosipho Bhengu   Transnet Port Terminals   Durban" userId="97380147-6f8d-4228-b37a-4680380c2fbf" providerId="ADAL" clId="{F3B7A7FB-CF2D-4345-96C3-A0DAFE0D0CE4}" dt="2025-04-14T10:49:24.821" v="257"/>
          <ac:graphicFrameMkLst>
            <pc:docMk/>
            <pc:sldMk cId="2252071721" sldId="2109"/>
            <ac:graphicFrameMk id="3" creationId="{5D2AAD69-7E5C-69E6-840C-08E58DAB5020}"/>
          </ac:graphicFrameMkLst>
        </pc:graphicFrameChg>
        <pc:graphicFrameChg chg="add del mod modGraphic">
          <ac:chgData name="Nosipho Bhengu   Transnet Port Terminals   Durban" userId="97380147-6f8d-4228-b37a-4680380c2fbf" providerId="ADAL" clId="{F3B7A7FB-CF2D-4345-96C3-A0DAFE0D0CE4}" dt="2025-04-14T10:55:46.602" v="328" actId="478"/>
          <ac:graphicFrameMkLst>
            <pc:docMk/>
            <pc:sldMk cId="2252071721" sldId="2109"/>
            <ac:graphicFrameMk id="4" creationId="{DBEAF313-8AA6-9623-26CA-E89E088F1AA6}"/>
          </ac:graphicFrameMkLst>
        </pc:graphicFrameChg>
        <pc:graphicFrameChg chg="add mod">
          <ac:chgData name="Nosipho Bhengu   Transnet Port Terminals   Durban" userId="97380147-6f8d-4228-b37a-4680380c2fbf" providerId="ADAL" clId="{F3B7A7FB-CF2D-4345-96C3-A0DAFE0D0CE4}" dt="2025-04-14T10:49:57.418" v="266" actId="1076"/>
          <ac:graphicFrameMkLst>
            <pc:docMk/>
            <pc:sldMk cId="2252071721" sldId="2109"/>
            <ac:graphicFrameMk id="7" creationId="{96F818ED-6396-7C55-0F64-00E9926A3062}"/>
          </ac:graphicFrameMkLst>
        </pc:graphicFrameChg>
        <pc:graphicFrameChg chg="add mod">
          <ac:chgData name="Nosipho Bhengu   Transnet Port Terminals   Durban" userId="97380147-6f8d-4228-b37a-4680380c2fbf" providerId="ADAL" clId="{F3B7A7FB-CF2D-4345-96C3-A0DAFE0D0CE4}" dt="2025-04-14T10:49:49.594" v="264"/>
          <ac:graphicFrameMkLst>
            <pc:docMk/>
            <pc:sldMk cId="2252071721" sldId="2109"/>
            <ac:graphicFrameMk id="9" creationId="{1712F6BD-5D7E-7C47-10CB-16AD02EA9234}"/>
          </ac:graphicFrameMkLst>
        </pc:graphicFrameChg>
        <pc:graphicFrameChg chg="add mod modGraphic">
          <ac:chgData name="Nosipho Bhengu   Transnet Port Terminals   Durban" userId="97380147-6f8d-4228-b37a-4680380c2fbf" providerId="ADAL" clId="{F3B7A7FB-CF2D-4345-96C3-A0DAFE0D0CE4}" dt="2025-04-14T13:19:43.219" v="2336" actId="207"/>
          <ac:graphicFrameMkLst>
            <pc:docMk/>
            <pc:sldMk cId="2252071721" sldId="2109"/>
            <ac:graphicFrameMk id="11" creationId="{DD5BECB1-827C-46E7-4643-45464AF75D28}"/>
          </ac:graphicFrameMkLst>
        </pc:graphicFrameChg>
        <pc:graphicFrameChg chg="add mod modGraphic">
          <ac:chgData name="Nosipho Bhengu   Transnet Port Terminals   Durban" userId="97380147-6f8d-4228-b37a-4680380c2fbf" providerId="ADAL" clId="{F3B7A7FB-CF2D-4345-96C3-A0DAFE0D0CE4}" dt="2025-04-14T10:56:52.618" v="336" actId="1076"/>
          <ac:graphicFrameMkLst>
            <pc:docMk/>
            <pc:sldMk cId="2252071721" sldId="2109"/>
            <ac:graphicFrameMk id="12" creationId="{89976684-71CD-36AC-3A2E-990AC75C0530}"/>
          </ac:graphicFrameMkLst>
        </pc:graphicFrameChg>
        <pc:graphicFrameChg chg="add mod">
          <ac:chgData name="Nosipho Bhengu   Transnet Port Terminals   Durban" userId="97380147-6f8d-4228-b37a-4680380c2fbf" providerId="ADAL" clId="{F3B7A7FB-CF2D-4345-96C3-A0DAFE0D0CE4}" dt="2025-04-14T10:56:54.243" v="337"/>
          <ac:graphicFrameMkLst>
            <pc:docMk/>
            <pc:sldMk cId="2252071721" sldId="2109"/>
            <ac:graphicFrameMk id="13" creationId="{D0B06D44-7E9C-5ACD-6A82-37F50E967B39}"/>
          </ac:graphicFrameMkLst>
        </pc:graphicFrameChg>
        <pc:graphicFrameChg chg="add mod modGraphic">
          <ac:chgData name="Nosipho Bhengu   Transnet Port Terminals   Durban" userId="97380147-6f8d-4228-b37a-4680380c2fbf" providerId="ADAL" clId="{F3B7A7FB-CF2D-4345-96C3-A0DAFE0D0CE4}" dt="2025-04-14T10:57:33.346" v="341" actId="14100"/>
          <ac:graphicFrameMkLst>
            <pc:docMk/>
            <pc:sldMk cId="2252071721" sldId="2109"/>
            <ac:graphicFrameMk id="14" creationId="{A309064E-C424-1310-78F5-87EBDA84554D}"/>
          </ac:graphicFrameMkLst>
        </pc:graphicFrameChg>
      </pc:sldChg>
      <pc:sldChg chg="delSp add del mod">
        <pc:chgData name="Nosipho Bhengu   Transnet Port Terminals   Durban" userId="97380147-6f8d-4228-b37a-4680380c2fbf" providerId="ADAL" clId="{F3B7A7FB-CF2D-4345-96C3-A0DAFE0D0CE4}" dt="2025-04-14T11:23:22.633" v="379" actId="2696"/>
        <pc:sldMkLst>
          <pc:docMk/>
          <pc:sldMk cId="2610693095" sldId="2110"/>
        </pc:sldMkLst>
        <pc:graphicFrameChg chg="del">
          <ac:chgData name="Nosipho Bhengu   Transnet Port Terminals   Durban" userId="97380147-6f8d-4228-b37a-4680380c2fbf" providerId="ADAL" clId="{F3B7A7FB-CF2D-4345-96C3-A0DAFE0D0CE4}" dt="2025-04-14T11:02:55.259" v="360" actId="478"/>
          <ac:graphicFrameMkLst>
            <pc:docMk/>
            <pc:sldMk cId="2610693095" sldId="2110"/>
            <ac:graphicFrameMk id="11" creationId="{DE18115E-F4DE-05B6-15B9-99FCD74A9C1A}"/>
          </ac:graphicFrameMkLst>
        </pc:graphicFrameChg>
        <pc:graphicFrameChg chg="del">
          <ac:chgData name="Nosipho Bhengu   Transnet Port Terminals   Durban" userId="97380147-6f8d-4228-b37a-4680380c2fbf" providerId="ADAL" clId="{F3B7A7FB-CF2D-4345-96C3-A0DAFE0D0CE4}" dt="2025-04-14T11:02:58.300" v="361" actId="478"/>
          <ac:graphicFrameMkLst>
            <pc:docMk/>
            <pc:sldMk cId="2610693095" sldId="2110"/>
            <ac:graphicFrameMk id="12" creationId="{8C7EEE0F-0074-2282-A8FD-A044F03B2C28}"/>
          </ac:graphicFrameMkLst>
        </pc:graphicFrameChg>
        <pc:graphicFrameChg chg="del">
          <ac:chgData name="Nosipho Bhengu   Transnet Port Terminals   Durban" userId="97380147-6f8d-4228-b37a-4680380c2fbf" providerId="ADAL" clId="{F3B7A7FB-CF2D-4345-96C3-A0DAFE0D0CE4}" dt="2025-04-14T11:03:04.802" v="362" actId="478"/>
          <ac:graphicFrameMkLst>
            <pc:docMk/>
            <pc:sldMk cId="2610693095" sldId="2110"/>
            <ac:graphicFrameMk id="14" creationId="{03F4DD73-D847-7A35-F96B-CB96B6154F5E}"/>
          </ac:graphicFrameMkLst>
        </pc:graphicFrameChg>
      </pc:sldChg>
      <pc:sldChg chg="addSp modSp add mod">
        <pc:chgData name="Nosipho Bhengu   Transnet Port Terminals   Durban" userId="97380147-6f8d-4228-b37a-4680380c2fbf" providerId="ADAL" clId="{F3B7A7FB-CF2D-4345-96C3-A0DAFE0D0CE4}" dt="2025-04-14T12:17:13.664" v="1225" actId="1076"/>
        <pc:sldMkLst>
          <pc:docMk/>
          <pc:sldMk cId="3262988366" sldId="2111"/>
        </pc:sldMkLst>
        <pc:spChg chg="mod">
          <ac:chgData name="Nosipho Bhengu   Transnet Port Terminals   Durban" userId="97380147-6f8d-4228-b37a-4680380c2fbf" providerId="ADAL" clId="{F3B7A7FB-CF2D-4345-96C3-A0DAFE0D0CE4}" dt="2025-04-14T11:33:45.573" v="435"/>
          <ac:spMkLst>
            <pc:docMk/>
            <pc:sldMk cId="3262988366" sldId="2111"/>
            <ac:spMk id="2" creationId="{FEB65F63-7B5A-EA5F-9C4A-6AF8E449B9CD}"/>
          </ac:spMkLst>
        </pc:spChg>
        <pc:spChg chg="mod">
          <ac:chgData name="Nosipho Bhengu   Transnet Port Terminals   Durban" userId="97380147-6f8d-4228-b37a-4680380c2fbf" providerId="ADAL" clId="{F3B7A7FB-CF2D-4345-96C3-A0DAFE0D0CE4}" dt="2025-04-14T11:46:23.196" v="714" actId="20577"/>
          <ac:spMkLst>
            <pc:docMk/>
            <pc:sldMk cId="3262988366" sldId="2111"/>
            <ac:spMk id="19" creationId="{AD175A54-DDBE-64AC-6B50-0E612C1D3B26}"/>
          </ac:spMkLst>
        </pc:spChg>
        <pc:spChg chg="mod">
          <ac:chgData name="Nosipho Bhengu   Transnet Port Terminals   Durban" userId="97380147-6f8d-4228-b37a-4680380c2fbf" providerId="ADAL" clId="{F3B7A7FB-CF2D-4345-96C3-A0DAFE0D0CE4}" dt="2025-04-14T12:12:50.123" v="1206" actId="20577"/>
          <ac:spMkLst>
            <pc:docMk/>
            <pc:sldMk cId="3262988366" sldId="2111"/>
            <ac:spMk id="24" creationId="{D474C019-FFC7-0CCF-96E7-A1F73B0022A7}"/>
          </ac:spMkLst>
        </pc:spChg>
        <pc:picChg chg="add mod">
          <ac:chgData name="Nosipho Bhengu   Transnet Port Terminals   Durban" userId="97380147-6f8d-4228-b37a-4680380c2fbf" providerId="ADAL" clId="{F3B7A7FB-CF2D-4345-96C3-A0DAFE0D0CE4}" dt="2025-04-14T12:17:13.664" v="1225" actId="1076"/>
          <ac:picMkLst>
            <pc:docMk/>
            <pc:sldMk cId="3262988366" sldId="2111"/>
            <ac:picMk id="3" creationId="{E05EEA79-0F26-7813-2823-161F4F9C2297}"/>
          </ac:picMkLst>
        </pc:picChg>
      </pc:sldChg>
      <pc:sldChg chg="new del">
        <pc:chgData name="Nosipho Bhengu   Transnet Port Terminals   Durban" userId="97380147-6f8d-4228-b37a-4680380c2fbf" providerId="ADAL" clId="{F3B7A7FB-CF2D-4345-96C3-A0DAFE0D0CE4}" dt="2025-04-14T12:17:56.654" v="1229" actId="680"/>
        <pc:sldMkLst>
          <pc:docMk/>
          <pc:sldMk cId="178707403" sldId="2112"/>
        </pc:sldMkLst>
      </pc:sldChg>
      <pc:sldChg chg="addSp delSp modSp add mod">
        <pc:chgData name="Nosipho Bhengu   Transnet Port Terminals   Durban" userId="97380147-6f8d-4228-b37a-4680380c2fbf" providerId="ADAL" clId="{F3B7A7FB-CF2D-4345-96C3-A0DAFE0D0CE4}" dt="2025-04-14T12:33:09.824" v="1272" actId="478"/>
        <pc:sldMkLst>
          <pc:docMk/>
          <pc:sldMk cId="1365068837" sldId="2112"/>
        </pc:sldMkLst>
        <pc:spChg chg="del">
          <ac:chgData name="Nosipho Bhengu   Transnet Port Terminals   Durban" userId="97380147-6f8d-4228-b37a-4680380c2fbf" providerId="ADAL" clId="{F3B7A7FB-CF2D-4345-96C3-A0DAFE0D0CE4}" dt="2025-04-14T12:18:12.511" v="1234" actId="478"/>
          <ac:spMkLst>
            <pc:docMk/>
            <pc:sldMk cId="1365068837" sldId="2112"/>
            <ac:spMk id="24" creationId="{310A5DE2-9BEE-E93A-8F60-D5F5C337B255}"/>
          </ac:spMkLst>
        </pc:spChg>
        <pc:graphicFrameChg chg="add del mod">
          <ac:chgData name="Nosipho Bhengu   Transnet Port Terminals   Durban" userId="97380147-6f8d-4228-b37a-4680380c2fbf" providerId="ADAL" clId="{F3B7A7FB-CF2D-4345-96C3-A0DAFE0D0CE4}" dt="2025-04-14T12:28:31.058" v="1256" actId="478"/>
          <ac:graphicFrameMkLst>
            <pc:docMk/>
            <pc:sldMk cId="1365068837" sldId="2112"/>
            <ac:graphicFrameMk id="4" creationId="{496D5E22-1182-9B3E-25E3-C45E77036D13}"/>
          </ac:graphicFrameMkLst>
        </pc:graphicFrameChg>
        <pc:graphicFrameChg chg="add del mod modGraphic">
          <ac:chgData name="Nosipho Bhengu   Transnet Port Terminals   Durban" userId="97380147-6f8d-4228-b37a-4680380c2fbf" providerId="ADAL" clId="{F3B7A7FB-CF2D-4345-96C3-A0DAFE0D0CE4}" dt="2025-04-14T12:33:09.824" v="1272" actId="478"/>
          <ac:graphicFrameMkLst>
            <pc:docMk/>
            <pc:sldMk cId="1365068837" sldId="2112"/>
            <ac:graphicFrameMk id="5" creationId="{00AC30DF-04DE-B9CC-DA47-4CD27C769D2B}"/>
          </ac:graphicFrameMkLst>
        </pc:graphicFrameChg>
        <pc:picChg chg="add del mod">
          <ac:chgData name="Nosipho Bhengu   Transnet Port Terminals   Durban" userId="97380147-6f8d-4228-b37a-4680380c2fbf" providerId="ADAL" clId="{F3B7A7FB-CF2D-4345-96C3-A0DAFE0D0CE4}" dt="2025-04-14T12:26:55.209" v="1252" actId="478"/>
          <ac:picMkLst>
            <pc:docMk/>
            <pc:sldMk cId="1365068837" sldId="2112"/>
            <ac:picMk id="3" creationId="{F4F79BBD-51E2-A6DE-84C1-32E75B08AF2F}"/>
          </ac:picMkLst>
        </pc:picChg>
        <pc:picChg chg="add">
          <ac:chgData name="Nosipho Bhengu   Transnet Port Terminals   Durban" userId="97380147-6f8d-4228-b37a-4680380c2fbf" providerId="ADAL" clId="{F3B7A7FB-CF2D-4345-96C3-A0DAFE0D0CE4}" dt="2025-04-14T12:32:57.576" v="1271"/>
          <ac:picMkLst>
            <pc:docMk/>
            <pc:sldMk cId="1365068837" sldId="2112"/>
            <ac:picMk id="6" creationId="{ED93F9DD-C44A-3A54-C476-AB7D7728193B}"/>
          </ac:picMkLst>
        </pc:picChg>
        <pc:picChg chg="del">
          <ac:chgData name="Nosipho Bhengu   Transnet Port Terminals   Durban" userId="97380147-6f8d-4228-b37a-4680380c2fbf" providerId="ADAL" clId="{F3B7A7FB-CF2D-4345-96C3-A0DAFE0D0CE4}" dt="2025-04-14T12:18:13.306" v="1235" actId="478"/>
          <ac:picMkLst>
            <pc:docMk/>
            <pc:sldMk cId="1365068837" sldId="2112"/>
            <ac:picMk id="8" creationId="{75BA9819-3843-0119-2031-6112E7A48227}"/>
          </ac:picMkLst>
        </pc:picChg>
      </pc:sldChg>
      <pc:sldChg chg="delSp add del mod">
        <pc:chgData name="Nosipho Bhengu   Transnet Port Terminals   Durban" userId="97380147-6f8d-4228-b37a-4680380c2fbf" providerId="ADAL" clId="{F3B7A7FB-CF2D-4345-96C3-A0DAFE0D0CE4}" dt="2025-04-14T12:34:51.172" v="1279" actId="47"/>
        <pc:sldMkLst>
          <pc:docMk/>
          <pc:sldMk cId="154512210" sldId="2113"/>
        </pc:sldMkLst>
        <pc:spChg chg="del">
          <ac:chgData name="Nosipho Bhengu   Transnet Port Terminals   Durban" userId="97380147-6f8d-4228-b37a-4680380c2fbf" providerId="ADAL" clId="{F3B7A7FB-CF2D-4345-96C3-A0DAFE0D0CE4}" dt="2025-04-14T12:18:08.104" v="1233" actId="478"/>
          <ac:spMkLst>
            <pc:docMk/>
            <pc:sldMk cId="154512210" sldId="2113"/>
            <ac:spMk id="24" creationId="{6ECDFB42-3E83-8EDD-FA76-5694F907D262}"/>
          </ac:spMkLst>
        </pc:spChg>
        <pc:picChg chg="del">
          <ac:chgData name="Nosipho Bhengu   Transnet Port Terminals   Durban" userId="97380147-6f8d-4228-b37a-4680380c2fbf" providerId="ADAL" clId="{F3B7A7FB-CF2D-4345-96C3-A0DAFE0D0CE4}" dt="2025-04-14T12:18:05.970" v="1232" actId="478"/>
          <ac:picMkLst>
            <pc:docMk/>
            <pc:sldMk cId="154512210" sldId="2113"/>
            <ac:picMk id="3" creationId="{B6390AB4-CBEA-0188-F2BF-6D90CF2A4587}"/>
          </ac:picMkLst>
        </pc:picChg>
      </pc:sldChg>
      <pc:sldChg chg="new del">
        <pc:chgData name="Nosipho Bhengu   Transnet Port Terminals   Durban" userId="97380147-6f8d-4228-b37a-4680380c2fbf" providerId="ADAL" clId="{F3B7A7FB-CF2D-4345-96C3-A0DAFE0D0CE4}" dt="2025-04-14T12:17:54.272" v="1228" actId="680"/>
        <pc:sldMkLst>
          <pc:docMk/>
          <pc:sldMk cId="2546334613" sldId="2113"/>
        </pc:sldMkLst>
      </pc:sldChg>
      <pc:sldChg chg="addSp delSp modSp add mod">
        <pc:chgData name="Nosipho Bhengu   Transnet Port Terminals   Durban" userId="97380147-6f8d-4228-b37a-4680380c2fbf" providerId="ADAL" clId="{F3B7A7FB-CF2D-4345-96C3-A0DAFE0D0CE4}" dt="2025-04-14T12:31:49.160" v="1264" actId="1582"/>
        <pc:sldMkLst>
          <pc:docMk/>
          <pc:sldMk cId="1098835560" sldId="2114"/>
        </pc:sldMkLst>
        <pc:graphicFrameChg chg="add mod">
          <ac:chgData name="Nosipho Bhengu   Transnet Port Terminals   Durban" userId="97380147-6f8d-4228-b37a-4680380c2fbf" providerId="ADAL" clId="{F3B7A7FB-CF2D-4345-96C3-A0DAFE0D0CE4}" dt="2025-04-14T12:24:00.659" v="1242"/>
          <ac:graphicFrameMkLst>
            <pc:docMk/>
            <pc:sldMk cId="1098835560" sldId="2114"/>
            <ac:graphicFrameMk id="5" creationId="{9E0E8C6C-51A8-F65F-AE71-FC5B7DAC73F5}"/>
          </ac:graphicFrameMkLst>
        </pc:graphicFrameChg>
        <pc:graphicFrameChg chg="add del mod">
          <ac:chgData name="Nosipho Bhengu   Transnet Port Terminals   Durban" userId="97380147-6f8d-4228-b37a-4680380c2fbf" providerId="ADAL" clId="{F3B7A7FB-CF2D-4345-96C3-A0DAFE0D0CE4}" dt="2025-04-14T12:25:45.009" v="1245" actId="478"/>
          <ac:graphicFrameMkLst>
            <pc:docMk/>
            <pc:sldMk cId="1098835560" sldId="2114"/>
            <ac:graphicFrameMk id="6" creationId="{C0A3CC36-FBF4-39ED-4E9D-0692C6B281A7}"/>
          </ac:graphicFrameMkLst>
        </pc:graphicFrameChg>
        <pc:graphicFrameChg chg="add del mod">
          <ac:chgData name="Nosipho Bhengu   Transnet Port Terminals   Durban" userId="97380147-6f8d-4228-b37a-4680380c2fbf" providerId="ADAL" clId="{F3B7A7FB-CF2D-4345-96C3-A0DAFE0D0CE4}" dt="2025-04-14T12:27:39.133" v="1254" actId="478"/>
          <ac:graphicFrameMkLst>
            <pc:docMk/>
            <pc:sldMk cId="1098835560" sldId="2114"/>
            <ac:graphicFrameMk id="7" creationId="{EB49E8C8-CAF9-4300-ADC9-799A01145FC4}"/>
          </ac:graphicFrameMkLst>
        </pc:graphicFrameChg>
        <pc:graphicFrameChg chg="add mod">
          <ac:chgData name="Nosipho Bhengu   Transnet Port Terminals   Durban" userId="97380147-6f8d-4228-b37a-4680380c2fbf" providerId="ADAL" clId="{F3B7A7FB-CF2D-4345-96C3-A0DAFE0D0CE4}" dt="2025-04-14T12:28:21.673" v="1255"/>
          <ac:graphicFrameMkLst>
            <pc:docMk/>
            <pc:sldMk cId="1098835560" sldId="2114"/>
            <ac:graphicFrameMk id="8" creationId="{FACBE252-1D71-9215-0EAA-E3B13636A983}"/>
          </ac:graphicFrameMkLst>
        </pc:graphicFrameChg>
        <pc:graphicFrameChg chg="add del mod">
          <ac:chgData name="Nosipho Bhengu   Transnet Port Terminals   Durban" userId="97380147-6f8d-4228-b37a-4680380c2fbf" providerId="ADAL" clId="{F3B7A7FB-CF2D-4345-96C3-A0DAFE0D0CE4}" dt="2025-04-14T12:30:08.827" v="1260" actId="478"/>
          <ac:graphicFrameMkLst>
            <pc:docMk/>
            <pc:sldMk cId="1098835560" sldId="2114"/>
            <ac:graphicFrameMk id="9" creationId="{3D2F121C-BA66-BC15-A7FD-EA74C89C12C6}"/>
          </ac:graphicFrameMkLst>
        </pc:graphicFrameChg>
        <pc:graphicFrameChg chg="add del mod">
          <ac:chgData name="Nosipho Bhengu   Transnet Port Terminals   Durban" userId="97380147-6f8d-4228-b37a-4680380c2fbf" providerId="ADAL" clId="{F3B7A7FB-CF2D-4345-96C3-A0DAFE0D0CE4}" dt="2025-04-14T12:30:50.656" v="1262" actId="478"/>
          <ac:graphicFrameMkLst>
            <pc:docMk/>
            <pc:sldMk cId="1098835560" sldId="2114"/>
            <ac:graphicFrameMk id="10" creationId="{8C2AB0D2-0350-8633-CA25-FB5B4B0EDF2B}"/>
          </ac:graphicFrameMkLst>
        </pc:graphicFrameChg>
        <pc:picChg chg="del">
          <ac:chgData name="Nosipho Bhengu   Transnet Port Terminals   Durban" userId="97380147-6f8d-4228-b37a-4680380c2fbf" providerId="ADAL" clId="{F3B7A7FB-CF2D-4345-96C3-A0DAFE0D0CE4}" dt="2025-04-14T12:20:31.778" v="1238" actId="478"/>
          <ac:picMkLst>
            <pc:docMk/>
            <pc:sldMk cId="1098835560" sldId="2114"/>
            <ac:picMk id="3" creationId="{B07614E0-E996-3011-0DB2-E922DE01B176}"/>
          </ac:picMkLst>
        </pc:picChg>
        <pc:picChg chg="add del mod">
          <ac:chgData name="Nosipho Bhengu   Transnet Port Terminals   Durban" userId="97380147-6f8d-4228-b37a-4680380c2fbf" providerId="ADAL" clId="{F3B7A7FB-CF2D-4345-96C3-A0DAFE0D0CE4}" dt="2025-04-14T12:23:18.853" v="1241" actId="478"/>
          <ac:picMkLst>
            <pc:docMk/>
            <pc:sldMk cId="1098835560" sldId="2114"/>
            <ac:picMk id="4" creationId="{2D8008E7-5509-DB3C-844E-AE49011CBB11}"/>
          </ac:picMkLst>
        </pc:picChg>
        <pc:picChg chg="add mod">
          <ac:chgData name="Nosipho Bhengu   Transnet Port Terminals   Durban" userId="97380147-6f8d-4228-b37a-4680380c2fbf" providerId="ADAL" clId="{F3B7A7FB-CF2D-4345-96C3-A0DAFE0D0CE4}" dt="2025-04-14T12:31:49.160" v="1264" actId="1582"/>
          <ac:picMkLst>
            <pc:docMk/>
            <pc:sldMk cId="1098835560" sldId="2114"/>
            <ac:picMk id="11" creationId="{A3824807-90D9-8451-7B82-EE292C024F67}"/>
          </ac:picMkLst>
        </pc:picChg>
      </pc:sldChg>
      <pc:sldChg chg="addSp modSp add mod">
        <pc:chgData name="Nosipho Bhengu   Transnet Port Terminals   Durban" userId="97380147-6f8d-4228-b37a-4680380c2fbf" providerId="ADAL" clId="{F3B7A7FB-CF2D-4345-96C3-A0DAFE0D0CE4}" dt="2025-04-14T12:34:37.466" v="1278" actId="1076"/>
        <pc:sldMkLst>
          <pc:docMk/>
          <pc:sldMk cId="576291416" sldId="2115"/>
        </pc:sldMkLst>
        <pc:graphicFrameChg chg="add mod modGraphic">
          <ac:chgData name="Nosipho Bhengu   Transnet Port Terminals   Durban" userId="97380147-6f8d-4228-b37a-4680380c2fbf" providerId="ADAL" clId="{F3B7A7FB-CF2D-4345-96C3-A0DAFE0D0CE4}" dt="2025-04-14T12:34:37.466" v="1278" actId="1076"/>
          <ac:graphicFrameMkLst>
            <pc:docMk/>
            <pc:sldMk cId="576291416" sldId="2115"/>
            <ac:graphicFrameMk id="3" creationId="{0D9F19DB-62FC-58E8-69F1-BA087227B74D}"/>
          </ac:graphicFrameMkLst>
        </pc:graphicFrameChg>
      </pc:sldChg>
      <pc:sldChg chg="addSp modSp add mod">
        <pc:chgData name="Nosipho Bhengu   Transnet Port Terminals   Durban" userId="97380147-6f8d-4228-b37a-4680380c2fbf" providerId="ADAL" clId="{F3B7A7FB-CF2D-4345-96C3-A0DAFE0D0CE4}" dt="2025-04-14T13:08:59.521" v="2257"/>
        <pc:sldMkLst>
          <pc:docMk/>
          <pc:sldMk cId="1319927110" sldId="2116"/>
        </pc:sldMkLst>
        <pc:spChg chg="add mod">
          <ac:chgData name="Nosipho Bhengu   Transnet Port Terminals   Durban" userId="97380147-6f8d-4228-b37a-4680380c2fbf" providerId="ADAL" clId="{F3B7A7FB-CF2D-4345-96C3-A0DAFE0D0CE4}" dt="2025-04-14T12:57:48.826" v="2168" actId="1076"/>
          <ac:spMkLst>
            <pc:docMk/>
            <pc:sldMk cId="1319927110" sldId="2116"/>
            <ac:spMk id="4" creationId="{EA25CE32-56FD-07D3-82D8-9776A451BBC0}"/>
          </ac:spMkLst>
        </pc:spChg>
        <pc:spChg chg="mod">
          <ac:chgData name="Nosipho Bhengu   Transnet Port Terminals   Durban" userId="97380147-6f8d-4228-b37a-4680380c2fbf" providerId="ADAL" clId="{F3B7A7FB-CF2D-4345-96C3-A0DAFE0D0CE4}" dt="2025-04-14T13:08:59.521" v="2257"/>
          <ac:spMkLst>
            <pc:docMk/>
            <pc:sldMk cId="1319927110" sldId="2116"/>
            <ac:spMk id="19" creationId="{EF0E89F4-64C5-7857-FED1-87BAF2E36999}"/>
          </ac:spMkLst>
        </pc:spChg>
      </pc:sldChg>
      <pc:sldChg chg="addSp delSp modSp add del mod">
        <pc:chgData name="Nosipho Bhengu   Transnet Port Terminals   Durban" userId="97380147-6f8d-4228-b37a-4680380c2fbf" providerId="ADAL" clId="{F3B7A7FB-CF2D-4345-96C3-A0DAFE0D0CE4}" dt="2025-04-14T14:04:11.840" v="3365" actId="20577"/>
        <pc:sldMkLst>
          <pc:docMk/>
          <pc:sldMk cId="2349988093" sldId="2117"/>
        </pc:sldMkLst>
        <pc:spChg chg="add del mod">
          <ac:chgData name="Nosipho Bhengu   Transnet Port Terminals   Durban" userId="97380147-6f8d-4228-b37a-4680380c2fbf" providerId="ADAL" clId="{F3B7A7FB-CF2D-4345-96C3-A0DAFE0D0CE4}" dt="2025-04-14T13:29:34.737" v="2548" actId="478"/>
          <ac:spMkLst>
            <pc:docMk/>
            <pc:sldMk cId="2349988093" sldId="2117"/>
            <ac:spMk id="4" creationId="{6B1D1EF9-14BF-F8E5-1274-EB7A83A21AA1}"/>
          </ac:spMkLst>
        </pc:spChg>
        <pc:spChg chg="del">
          <ac:chgData name="Nosipho Bhengu   Transnet Port Terminals   Durban" userId="97380147-6f8d-4228-b37a-4680380c2fbf" providerId="ADAL" clId="{F3B7A7FB-CF2D-4345-96C3-A0DAFE0D0CE4}" dt="2025-04-14T13:06:54.272" v="2234" actId="478"/>
          <ac:spMkLst>
            <pc:docMk/>
            <pc:sldMk cId="2349988093" sldId="2117"/>
            <ac:spMk id="5" creationId="{3E8AA377-8C84-9492-F256-1BCF00142C4E}"/>
          </ac:spMkLst>
        </pc:spChg>
        <pc:spChg chg="add del mod">
          <ac:chgData name="Nosipho Bhengu   Transnet Port Terminals   Durban" userId="97380147-6f8d-4228-b37a-4680380c2fbf" providerId="ADAL" clId="{F3B7A7FB-CF2D-4345-96C3-A0DAFE0D0CE4}" dt="2025-04-14T13:29:31.047" v="2546" actId="478"/>
          <ac:spMkLst>
            <pc:docMk/>
            <pc:sldMk cId="2349988093" sldId="2117"/>
            <ac:spMk id="6" creationId="{109A94AD-C61F-12F4-E8E2-BD7C59FFDCE6}"/>
          </ac:spMkLst>
        </pc:spChg>
        <pc:spChg chg="add mod">
          <ac:chgData name="Nosipho Bhengu   Transnet Port Terminals   Durban" userId="97380147-6f8d-4228-b37a-4680380c2fbf" providerId="ADAL" clId="{F3B7A7FB-CF2D-4345-96C3-A0DAFE0D0CE4}" dt="2025-04-14T14:04:11.840" v="3365" actId="20577"/>
          <ac:spMkLst>
            <pc:docMk/>
            <pc:sldMk cId="2349988093" sldId="2117"/>
            <ac:spMk id="8" creationId="{EC3FDB44-3BB1-4C57-4594-6427C3BD22F6}"/>
          </ac:spMkLst>
        </pc:spChg>
        <pc:spChg chg="add del mod">
          <ac:chgData name="Nosipho Bhengu   Transnet Port Terminals   Durban" userId="97380147-6f8d-4228-b37a-4680380c2fbf" providerId="ADAL" clId="{F3B7A7FB-CF2D-4345-96C3-A0DAFE0D0CE4}" dt="2025-04-14T13:40:40.927" v="2869" actId="478"/>
          <ac:spMkLst>
            <pc:docMk/>
            <pc:sldMk cId="2349988093" sldId="2117"/>
            <ac:spMk id="9" creationId="{C7541448-A263-DFC7-188F-F18722F33115}"/>
          </ac:spMkLst>
        </pc:spChg>
        <pc:spChg chg="mod">
          <ac:chgData name="Nosipho Bhengu   Transnet Port Terminals   Durban" userId="97380147-6f8d-4228-b37a-4680380c2fbf" providerId="ADAL" clId="{F3B7A7FB-CF2D-4345-96C3-A0DAFE0D0CE4}" dt="2025-04-14T13:27:33.087" v="2537" actId="20577"/>
          <ac:spMkLst>
            <pc:docMk/>
            <pc:sldMk cId="2349988093" sldId="2117"/>
            <ac:spMk id="19" creationId="{AB12E23F-9B98-DBF0-79A5-33AC43C2B391}"/>
          </ac:spMkLst>
        </pc:spChg>
      </pc:sldChg>
      <pc:sldChg chg="add del">
        <pc:chgData name="Nosipho Bhengu   Transnet Port Terminals   Durban" userId="97380147-6f8d-4228-b37a-4680380c2fbf" providerId="ADAL" clId="{F3B7A7FB-CF2D-4345-96C3-A0DAFE0D0CE4}" dt="2025-04-14T12:57:55.127" v="2169" actId="2696"/>
        <pc:sldMkLst>
          <pc:docMk/>
          <pc:sldMk cId="3384355957" sldId="2117"/>
        </pc:sldMkLst>
      </pc:sldChg>
      <pc:sldChg chg="addSp delSp modSp add mod">
        <pc:chgData name="Nosipho Bhengu   Transnet Port Terminals   Durban" userId="97380147-6f8d-4228-b37a-4680380c2fbf" providerId="ADAL" clId="{F3B7A7FB-CF2D-4345-96C3-A0DAFE0D0CE4}" dt="2025-04-14T13:20:34.905" v="2339" actId="12100"/>
        <pc:sldMkLst>
          <pc:docMk/>
          <pc:sldMk cId="3671386163" sldId="2118"/>
        </pc:sldMkLst>
        <pc:spChg chg="del">
          <ac:chgData name="Nosipho Bhengu   Transnet Port Terminals   Durban" userId="97380147-6f8d-4228-b37a-4680380c2fbf" providerId="ADAL" clId="{F3B7A7FB-CF2D-4345-96C3-A0DAFE0D0CE4}" dt="2025-04-14T13:07:45.918" v="2241" actId="478"/>
          <ac:spMkLst>
            <pc:docMk/>
            <pc:sldMk cId="3671386163" sldId="2118"/>
            <ac:spMk id="4" creationId="{FBAD4B26-B846-88EA-F3C4-3CB5BEA0693C}"/>
          </ac:spMkLst>
        </pc:spChg>
        <pc:spChg chg="add mod">
          <ac:chgData name="Nosipho Bhengu   Transnet Port Terminals   Durban" userId="97380147-6f8d-4228-b37a-4680380c2fbf" providerId="ADAL" clId="{F3B7A7FB-CF2D-4345-96C3-A0DAFE0D0CE4}" dt="2025-04-14T13:08:08.619" v="2244" actId="1076"/>
          <ac:spMkLst>
            <pc:docMk/>
            <pc:sldMk cId="3671386163" sldId="2118"/>
            <ac:spMk id="5" creationId="{081DDBB3-35E1-BA0F-617E-46C006265A8C}"/>
          </ac:spMkLst>
        </pc:spChg>
        <pc:graphicFrameChg chg="add mod">
          <ac:chgData name="Nosipho Bhengu   Transnet Port Terminals   Durban" userId="97380147-6f8d-4228-b37a-4680380c2fbf" providerId="ADAL" clId="{F3B7A7FB-CF2D-4345-96C3-A0DAFE0D0CE4}" dt="2025-04-14T13:20:34.905" v="2339" actId="12100"/>
          <ac:graphicFrameMkLst>
            <pc:docMk/>
            <pc:sldMk cId="3671386163" sldId="2118"/>
            <ac:graphicFrameMk id="3" creationId="{F1F1D2DA-2C46-FFE4-F77A-66008B82230E}"/>
          </ac:graphicFrameMkLst>
        </pc:graphicFrameChg>
      </pc:sldChg>
      <pc:sldChg chg="addSp delSp modSp add mod">
        <pc:chgData name="Nosipho Bhengu   Transnet Port Terminals   Durban" userId="97380147-6f8d-4228-b37a-4680380c2fbf" providerId="ADAL" clId="{F3B7A7FB-CF2D-4345-96C3-A0DAFE0D0CE4}" dt="2025-04-14T13:14:57.201" v="2299" actId="20577"/>
        <pc:sldMkLst>
          <pc:docMk/>
          <pc:sldMk cId="3155303191" sldId="2119"/>
        </pc:sldMkLst>
        <pc:spChg chg="add mod">
          <ac:chgData name="Nosipho Bhengu   Transnet Port Terminals   Durban" userId="97380147-6f8d-4228-b37a-4680380c2fbf" providerId="ADAL" clId="{F3B7A7FB-CF2D-4345-96C3-A0DAFE0D0CE4}" dt="2025-04-14T13:14:24.262" v="2295" actId="20577"/>
          <ac:spMkLst>
            <pc:docMk/>
            <pc:sldMk cId="3155303191" sldId="2119"/>
            <ac:spMk id="3" creationId="{26BCBEEF-34F3-9192-2D4A-E5B9D190C8C9}"/>
          </ac:spMkLst>
        </pc:spChg>
        <pc:spChg chg="mod">
          <ac:chgData name="Nosipho Bhengu   Transnet Port Terminals   Durban" userId="97380147-6f8d-4228-b37a-4680380c2fbf" providerId="ADAL" clId="{F3B7A7FB-CF2D-4345-96C3-A0DAFE0D0CE4}" dt="2025-04-14T13:14:57.201" v="2299" actId="20577"/>
          <ac:spMkLst>
            <pc:docMk/>
            <pc:sldMk cId="3155303191" sldId="2119"/>
            <ac:spMk id="19" creationId="{0DE5F333-8C0B-47C9-B0AA-56B30AAEC1BA}"/>
          </ac:spMkLst>
        </pc:spChg>
        <pc:graphicFrameChg chg="add mod modGraphic">
          <ac:chgData name="Nosipho Bhengu   Transnet Port Terminals   Durban" userId="97380147-6f8d-4228-b37a-4680380c2fbf" providerId="ADAL" clId="{F3B7A7FB-CF2D-4345-96C3-A0DAFE0D0CE4}" dt="2025-04-14T13:14:05.738" v="2285" actId="14734"/>
          <ac:graphicFrameMkLst>
            <pc:docMk/>
            <pc:sldMk cId="3155303191" sldId="2119"/>
            <ac:graphicFrameMk id="4" creationId="{CE99A44C-EAC8-7277-609C-196044A9F772}"/>
          </ac:graphicFrameMkLst>
        </pc:graphicFrameChg>
        <pc:picChg chg="del">
          <ac:chgData name="Nosipho Bhengu   Transnet Port Terminals   Durban" userId="97380147-6f8d-4228-b37a-4680380c2fbf" providerId="ADAL" clId="{F3B7A7FB-CF2D-4345-96C3-A0DAFE0D0CE4}" dt="2025-04-14T13:13:11.909" v="2279" actId="478"/>
          <ac:picMkLst>
            <pc:docMk/>
            <pc:sldMk cId="3155303191" sldId="2119"/>
            <ac:picMk id="5" creationId="{C1EBD084-C49A-82A4-E758-7A819D26984F}"/>
          </ac:picMkLst>
        </pc:picChg>
      </pc:sldChg>
      <pc:sldChg chg="delSp modSp add del mod">
        <pc:chgData name="Nosipho Bhengu   Transnet Port Terminals   Durban" userId="97380147-6f8d-4228-b37a-4680380c2fbf" providerId="ADAL" clId="{F3B7A7FB-CF2D-4345-96C3-A0DAFE0D0CE4}" dt="2025-04-14T14:00:20.173" v="3354" actId="47"/>
        <pc:sldMkLst>
          <pc:docMk/>
          <pc:sldMk cId="1743529005" sldId="2120"/>
        </pc:sldMkLst>
        <pc:spChg chg="del mod">
          <ac:chgData name="Nosipho Bhengu   Transnet Port Terminals   Durban" userId="97380147-6f8d-4228-b37a-4680380c2fbf" providerId="ADAL" clId="{F3B7A7FB-CF2D-4345-96C3-A0DAFE0D0CE4}" dt="2025-04-14T13:54:40.426" v="3295" actId="478"/>
          <ac:spMkLst>
            <pc:docMk/>
            <pc:sldMk cId="1743529005" sldId="2120"/>
            <ac:spMk id="4" creationId="{E971F2DE-CC93-E264-6B27-AC52BBA276FF}"/>
          </ac:spMkLst>
        </pc:spChg>
        <pc:spChg chg="mod">
          <ac:chgData name="Nosipho Bhengu   Transnet Port Terminals   Durban" userId="97380147-6f8d-4228-b37a-4680380c2fbf" providerId="ADAL" clId="{F3B7A7FB-CF2D-4345-96C3-A0DAFE0D0CE4}" dt="2025-04-14T13:57:26.051" v="3298" actId="20577"/>
          <ac:spMkLst>
            <pc:docMk/>
            <pc:sldMk cId="1743529005" sldId="2120"/>
            <ac:spMk id="6" creationId="{9A8600A2-184F-B9AF-504F-3C0A3E9CB530}"/>
          </ac:spMkLst>
        </pc:spChg>
      </pc:sldChg>
      <pc:sldChg chg="add del">
        <pc:chgData name="Nosipho Bhengu   Transnet Port Terminals   Durban" userId="97380147-6f8d-4228-b37a-4680380c2fbf" providerId="ADAL" clId="{F3B7A7FB-CF2D-4345-96C3-A0DAFE0D0CE4}" dt="2025-04-14T13:07:33.658" v="2239" actId="2696"/>
        <pc:sldMkLst>
          <pc:docMk/>
          <pc:sldMk cId="1303372082" sldId="2145709605"/>
        </pc:sldMkLst>
      </pc:sldChg>
    </pc:docChg>
  </pc:docChgLst>
  <pc:docChgLst>
    <pc:chgData name="Qiniso Luthuli         Transnet Property     PTA" userId="97582c04-340a-4cf4-ae3d-b11efb9cad31" providerId="ADAL" clId="{4DA7280F-6BC1-4121-9712-FB490D67013A}"/>
    <pc:docChg chg="undo redo custSel addSld modSld sldOrd addSection modSection">
      <pc:chgData name="Qiniso Luthuli         Transnet Property     PTA" userId="97582c04-340a-4cf4-ae3d-b11efb9cad31" providerId="ADAL" clId="{4DA7280F-6BC1-4121-9712-FB490D67013A}" dt="2024-01-18T14:49:07.656" v="377" actId="1076"/>
      <pc:docMkLst>
        <pc:docMk/>
      </pc:docMkLst>
      <pc:sldChg chg="modSp mod">
        <pc:chgData name="Qiniso Luthuli         Transnet Property     PTA" userId="97582c04-340a-4cf4-ae3d-b11efb9cad31" providerId="ADAL" clId="{4DA7280F-6BC1-4121-9712-FB490D67013A}" dt="2024-01-18T13:24:22.781" v="333" actId="20577"/>
        <pc:sldMkLst>
          <pc:docMk/>
          <pc:sldMk cId="1525525468" sldId="2064"/>
        </pc:sldMkLst>
        <pc:spChg chg="mod">
          <ac:chgData name="Qiniso Luthuli         Transnet Property     PTA" userId="97582c04-340a-4cf4-ae3d-b11efb9cad31" providerId="ADAL" clId="{4DA7280F-6BC1-4121-9712-FB490D67013A}" dt="2024-01-18T13:24:22.781" v="333" actId="20577"/>
          <ac:spMkLst>
            <pc:docMk/>
            <pc:sldMk cId="1525525468" sldId="2064"/>
            <ac:spMk id="19" creationId="{5A7DDE8A-B245-7F8D-DA6F-32478A5A14BA}"/>
          </ac:spMkLst>
        </pc:spChg>
      </pc:sldChg>
      <pc:sldChg chg="addSp delSp modSp add mod">
        <pc:chgData name="Qiniso Luthuli         Transnet Property     PTA" userId="97582c04-340a-4cf4-ae3d-b11efb9cad31" providerId="ADAL" clId="{4DA7280F-6BC1-4121-9712-FB490D67013A}" dt="2024-01-18T14:49:07.656" v="377" actId="1076"/>
        <pc:sldMkLst>
          <pc:docMk/>
          <pc:sldMk cId="2190344448" sldId="2085"/>
        </pc:sldMkLst>
        <pc:spChg chg="mod">
          <ac:chgData name="Qiniso Luthuli         Transnet Property     PTA" userId="97582c04-340a-4cf4-ae3d-b11efb9cad31" providerId="ADAL" clId="{4DA7280F-6BC1-4121-9712-FB490D67013A}" dt="2024-01-18T12:44:25.901" v="30" actId="20577"/>
          <ac:spMkLst>
            <pc:docMk/>
            <pc:sldMk cId="2190344448" sldId="2085"/>
            <ac:spMk id="2" creationId="{38C7DF0D-CF3D-BC6E-2657-3E6DE238EA93}"/>
          </ac:spMkLst>
        </pc:spChg>
        <pc:spChg chg="add del mod">
          <ac:chgData name="Qiniso Luthuli         Transnet Property     PTA" userId="97582c04-340a-4cf4-ae3d-b11efb9cad31" providerId="ADAL" clId="{4DA7280F-6BC1-4121-9712-FB490D67013A}" dt="2024-01-18T12:52:28.387" v="110"/>
          <ac:spMkLst>
            <pc:docMk/>
            <pc:sldMk cId="2190344448" sldId="2085"/>
            <ac:spMk id="7" creationId="{3E017D60-B77E-F934-7824-C8646E20CEC3}"/>
          </ac:spMkLst>
        </pc:spChg>
        <pc:spChg chg="add mod">
          <ac:chgData name="Qiniso Luthuli         Transnet Property     PTA" userId="97582c04-340a-4cf4-ae3d-b11efb9cad31" providerId="ADAL" clId="{4DA7280F-6BC1-4121-9712-FB490D67013A}" dt="2024-01-18T13:29:09.864" v="370" actId="2085"/>
          <ac:spMkLst>
            <pc:docMk/>
            <pc:sldMk cId="2190344448" sldId="2085"/>
            <ac:spMk id="8" creationId="{AD70BA18-1CBC-6215-7857-FDD3F19C3D4C}"/>
          </ac:spMkLst>
        </pc:spChg>
        <pc:spChg chg="mod">
          <ac:chgData name="Qiniso Luthuli         Transnet Property     PTA" userId="97582c04-340a-4cf4-ae3d-b11efb9cad31" providerId="ADAL" clId="{4DA7280F-6BC1-4121-9712-FB490D67013A}" dt="2024-01-18T12:44:08.679" v="21" actId="20577"/>
          <ac:spMkLst>
            <pc:docMk/>
            <pc:sldMk cId="2190344448" sldId="2085"/>
            <ac:spMk id="19" creationId="{5A7DDE8A-B245-7F8D-DA6F-32478A5A14BA}"/>
          </ac:spMkLst>
        </pc:spChg>
        <pc:spChg chg="mod">
          <ac:chgData name="Qiniso Luthuli         Transnet Property     PTA" userId="97582c04-340a-4cf4-ae3d-b11efb9cad31" providerId="ADAL" clId="{4DA7280F-6BC1-4121-9712-FB490D67013A}" dt="2024-01-18T13:29:04.666" v="369" actId="2085"/>
          <ac:spMkLst>
            <pc:docMk/>
            <pc:sldMk cId="2190344448" sldId="2085"/>
            <ac:spMk id="24" creationId="{F56F26D1-1979-4E75-BF61-3D4E4DF77D1D}"/>
          </ac:spMkLst>
        </pc:spChg>
        <pc:graphicFrameChg chg="add del mod">
          <ac:chgData name="Qiniso Luthuli         Transnet Property     PTA" userId="97582c04-340a-4cf4-ae3d-b11efb9cad31" providerId="ADAL" clId="{4DA7280F-6BC1-4121-9712-FB490D67013A}" dt="2024-01-18T12:47:19.085" v="71" actId="478"/>
          <ac:graphicFrameMkLst>
            <pc:docMk/>
            <pc:sldMk cId="2190344448" sldId="2085"/>
            <ac:graphicFrameMk id="3" creationId="{3BBD4713-6E2A-4D7B-A877-C96CE2492802}"/>
          </ac:graphicFrameMkLst>
        </pc:graphicFrameChg>
        <pc:graphicFrameChg chg="add del mod">
          <ac:chgData name="Qiniso Luthuli         Transnet Property     PTA" userId="97582c04-340a-4cf4-ae3d-b11efb9cad31" providerId="ADAL" clId="{4DA7280F-6BC1-4121-9712-FB490D67013A}" dt="2024-01-18T12:48:20.481" v="84" actId="478"/>
          <ac:graphicFrameMkLst>
            <pc:docMk/>
            <pc:sldMk cId="2190344448" sldId="2085"/>
            <ac:graphicFrameMk id="4" creationId="{1A7B73A5-4D43-DC46-4D9F-21BCCE018D47}"/>
          </ac:graphicFrameMkLst>
        </pc:graphicFrameChg>
        <pc:graphicFrameChg chg="add del mod">
          <ac:chgData name="Qiniso Luthuli         Transnet Property     PTA" userId="97582c04-340a-4cf4-ae3d-b11efb9cad31" providerId="ADAL" clId="{4DA7280F-6BC1-4121-9712-FB490D67013A}" dt="2024-01-18T12:49:58.207" v="97" actId="478"/>
          <ac:graphicFrameMkLst>
            <pc:docMk/>
            <pc:sldMk cId="2190344448" sldId="2085"/>
            <ac:graphicFrameMk id="5" creationId="{4F2FF30D-5ED8-FBC7-AD93-CB3B7C9D1B21}"/>
          </ac:graphicFrameMkLst>
        </pc:graphicFrameChg>
        <pc:graphicFrameChg chg="add del mod modGraphic">
          <ac:chgData name="Qiniso Luthuli         Transnet Property     PTA" userId="97582c04-340a-4cf4-ae3d-b11efb9cad31" providerId="ADAL" clId="{4DA7280F-6BC1-4121-9712-FB490D67013A}" dt="2024-01-18T13:02:25.693" v="217" actId="478"/>
          <ac:graphicFrameMkLst>
            <pc:docMk/>
            <pc:sldMk cId="2190344448" sldId="2085"/>
            <ac:graphicFrameMk id="6" creationId="{22F42212-4810-E745-F728-1E52E9F882F7}"/>
          </ac:graphicFrameMkLst>
        </pc:graphicFrameChg>
        <pc:graphicFrameChg chg="add mod modGraphic">
          <ac:chgData name="Qiniso Luthuli         Transnet Property     PTA" userId="97582c04-340a-4cf4-ae3d-b11efb9cad31" providerId="ADAL" clId="{4DA7280F-6BC1-4121-9712-FB490D67013A}" dt="2024-01-18T14:49:07.656" v="377" actId="1076"/>
          <ac:graphicFrameMkLst>
            <pc:docMk/>
            <pc:sldMk cId="2190344448" sldId="2085"/>
            <ac:graphicFrameMk id="9" creationId="{F9E3067D-22B9-9544-C0A6-1C0123CE1C9F}"/>
          </ac:graphicFrameMkLst>
        </pc:graphicFrameChg>
      </pc:sldChg>
      <pc:sldChg chg="addSp delSp modSp add mod">
        <pc:chgData name="Qiniso Luthuli         Transnet Property     PTA" userId="97582c04-340a-4cf4-ae3d-b11efb9cad31" providerId="ADAL" clId="{4DA7280F-6BC1-4121-9712-FB490D67013A}" dt="2024-01-18T13:20:25.828" v="306" actId="14734"/>
        <pc:sldMkLst>
          <pc:docMk/>
          <pc:sldMk cId="3913064372" sldId="2086"/>
        </pc:sldMkLst>
        <pc:spChg chg="del">
          <ac:chgData name="Qiniso Luthuli         Transnet Property     PTA" userId="97582c04-340a-4cf4-ae3d-b11efb9cad31" providerId="ADAL" clId="{4DA7280F-6BC1-4121-9712-FB490D67013A}" dt="2024-01-18T12:58:51.244" v="204" actId="478"/>
          <ac:spMkLst>
            <pc:docMk/>
            <pc:sldMk cId="3913064372" sldId="2086"/>
            <ac:spMk id="8" creationId="{AD70BA18-1CBC-6215-7857-FDD3F19C3D4C}"/>
          </ac:spMkLst>
        </pc:spChg>
        <pc:spChg chg="del">
          <ac:chgData name="Qiniso Luthuli         Transnet Property     PTA" userId="97582c04-340a-4cf4-ae3d-b11efb9cad31" providerId="ADAL" clId="{4DA7280F-6BC1-4121-9712-FB490D67013A}" dt="2024-01-18T12:58:49.723" v="203" actId="478"/>
          <ac:spMkLst>
            <pc:docMk/>
            <pc:sldMk cId="3913064372" sldId="2086"/>
            <ac:spMk id="24" creationId="{F56F26D1-1979-4E75-BF61-3D4E4DF77D1D}"/>
          </ac:spMkLst>
        </pc:spChg>
        <pc:graphicFrameChg chg="add del mod">
          <ac:chgData name="Qiniso Luthuli         Transnet Property     PTA" userId="97582c04-340a-4cf4-ae3d-b11efb9cad31" providerId="ADAL" clId="{4DA7280F-6BC1-4121-9712-FB490D67013A}" dt="2024-01-18T13:00:01.009" v="208"/>
          <ac:graphicFrameMkLst>
            <pc:docMk/>
            <pc:sldMk cId="3913064372" sldId="2086"/>
            <ac:graphicFrameMk id="3" creationId="{707F0C9D-A7CB-F56C-2C3E-8B62BEEC5510}"/>
          </ac:graphicFrameMkLst>
        </pc:graphicFrameChg>
        <pc:graphicFrameChg chg="add mod ord modGraphic">
          <ac:chgData name="Qiniso Luthuli         Transnet Property     PTA" userId="97582c04-340a-4cf4-ae3d-b11efb9cad31" providerId="ADAL" clId="{4DA7280F-6BC1-4121-9712-FB490D67013A}" dt="2024-01-18T13:20:25.828" v="306" actId="14734"/>
          <ac:graphicFrameMkLst>
            <pc:docMk/>
            <pc:sldMk cId="3913064372" sldId="2086"/>
            <ac:graphicFrameMk id="4" creationId="{2BF25635-AB30-E6D9-1997-3B702CE9C542}"/>
          </ac:graphicFrameMkLst>
        </pc:graphicFrameChg>
        <pc:graphicFrameChg chg="add del mod">
          <ac:chgData name="Qiniso Luthuli         Transnet Property     PTA" userId="97582c04-340a-4cf4-ae3d-b11efb9cad31" providerId="ADAL" clId="{4DA7280F-6BC1-4121-9712-FB490D67013A}" dt="2024-01-18T13:03:53.953" v="224" actId="478"/>
          <ac:graphicFrameMkLst>
            <pc:docMk/>
            <pc:sldMk cId="3913064372" sldId="2086"/>
            <ac:graphicFrameMk id="5" creationId="{1F1C894F-E20C-4281-50E2-08C046FFCA35}"/>
          </ac:graphicFrameMkLst>
        </pc:graphicFrameChg>
        <pc:graphicFrameChg chg="del mod">
          <ac:chgData name="Qiniso Luthuli         Transnet Property     PTA" userId="97582c04-340a-4cf4-ae3d-b11efb9cad31" providerId="ADAL" clId="{4DA7280F-6BC1-4121-9712-FB490D67013A}" dt="2024-01-18T13:02:43.579" v="218" actId="478"/>
          <ac:graphicFrameMkLst>
            <pc:docMk/>
            <pc:sldMk cId="3913064372" sldId="2086"/>
            <ac:graphicFrameMk id="6" creationId="{22F42212-4810-E745-F728-1E52E9F882F7}"/>
          </ac:graphicFrameMkLst>
        </pc:graphicFrameChg>
        <pc:graphicFrameChg chg="add del mod">
          <ac:chgData name="Qiniso Luthuli         Transnet Property     PTA" userId="97582c04-340a-4cf4-ae3d-b11efb9cad31" providerId="ADAL" clId="{4DA7280F-6BC1-4121-9712-FB490D67013A}" dt="2024-01-18T13:04:09.895" v="227" actId="478"/>
          <ac:graphicFrameMkLst>
            <pc:docMk/>
            <pc:sldMk cId="3913064372" sldId="2086"/>
            <ac:graphicFrameMk id="7" creationId="{635DE6EE-F41E-5348-F5FD-D4E285A9DFD3}"/>
          </ac:graphicFrameMkLst>
        </pc:graphicFrameChg>
        <pc:graphicFrameChg chg="add del mod">
          <ac:chgData name="Qiniso Luthuli         Transnet Property     PTA" userId="97582c04-340a-4cf4-ae3d-b11efb9cad31" providerId="ADAL" clId="{4DA7280F-6BC1-4121-9712-FB490D67013A}" dt="2024-01-18T13:05:46.384" v="233"/>
          <ac:graphicFrameMkLst>
            <pc:docMk/>
            <pc:sldMk cId="3913064372" sldId="2086"/>
            <ac:graphicFrameMk id="9" creationId="{AEC7E16F-325C-87E1-4B4E-630FD1C9E857}"/>
          </ac:graphicFrameMkLst>
        </pc:graphicFrameChg>
      </pc:sldChg>
      <pc:sldChg chg="addSp delSp modSp add mod">
        <pc:chgData name="Qiniso Luthuli         Transnet Property     PTA" userId="97582c04-340a-4cf4-ae3d-b11efb9cad31" providerId="ADAL" clId="{4DA7280F-6BC1-4121-9712-FB490D67013A}" dt="2024-01-18T13:20:35.094" v="307" actId="14734"/>
        <pc:sldMkLst>
          <pc:docMk/>
          <pc:sldMk cId="1850526330" sldId="2087"/>
        </pc:sldMkLst>
        <pc:graphicFrameChg chg="add del mod">
          <ac:chgData name="Qiniso Luthuli         Transnet Property     PTA" userId="97582c04-340a-4cf4-ae3d-b11efb9cad31" providerId="ADAL" clId="{4DA7280F-6BC1-4121-9712-FB490D67013A}" dt="2024-01-18T13:09:26.354" v="239"/>
          <ac:graphicFrameMkLst>
            <pc:docMk/>
            <pc:sldMk cId="1850526330" sldId="2087"/>
            <ac:graphicFrameMk id="3" creationId="{B5B2E6C0-E90E-9CB8-F8D7-5ED338B6AAF5}"/>
          </ac:graphicFrameMkLst>
        </pc:graphicFrameChg>
        <pc:graphicFrameChg chg="del">
          <ac:chgData name="Qiniso Luthuli         Transnet Property     PTA" userId="97582c04-340a-4cf4-ae3d-b11efb9cad31" providerId="ADAL" clId="{4DA7280F-6BC1-4121-9712-FB490D67013A}" dt="2024-01-18T13:06:56.155" v="235" actId="478"/>
          <ac:graphicFrameMkLst>
            <pc:docMk/>
            <pc:sldMk cId="1850526330" sldId="2087"/>
            <ac:graphicFrameMk id="4" creationId="{2BF25635-AB30-E6D9-1997-3B702CE9C542}"/>
          </ac:graphicFrameMkLst>
        </pc:graphicFrameChg>
        <pc:graphicFrameChg chg="add mod modGraphic">
          <ac:chgData name="Qiniso Luthuli         Transnet Property     PTA" userId="97582c04-340a-4cf4-ae3d-b11efb9cad31" providerId="ADAL" clId="{4DA7280F-6BC1-4121-9712-FB490D67013A}" dt="2024-01-18T13:20:35.094" v="307" actId="14734"/>
          <ac:graphicFrameMkLst>
            <pc:docMk/>
            <pc:sldMk cId="1850526330" sldId="2087"/>
            <ac:graphicFrameMk id="5" creationId="{7047877A-274B-5C72-583E-6D613C07CB29}"/>
          </ac:graphicFrameMkLst>
        </pc:graphicFrameChg>
        <pc:graphicFrameChg chg="add del">
          <ac:chgData name="Qiniso Luthuli         Transnet Property     PTA" userId="97582c04-340a-4cf4-ae3d-b11efb9cad31" providerId="ADAL" clId="{4DA7280F-6BC1-4121-9712-FB490D67013A}" dt="2024-01-18T13:13:29.938" v="262" actId="478"/>
          <ac:graphicFrameMkLst>
            <pc:docMk/>
            <pc:sldMk cId="1850526330" sldId="2087"/>
            <ac:graphicFrameMk id="6" creationId="{22F42212-4810-E745-F728-1E52E9F882F7}"/>
          </ac:graphicFrameMkLst>
        </pc:graphicFrameChg>
      </pc:sldChg>
      <pc:sldChg chg="addSp delSp modSp add mod ord">
        <pc:chgData name="Qiniso Luthuli         Transnet Property     PTA" userId="97582c04-340a-4cf4-ae3d-b11efb9cad31" providerId="ADAL" clId="{4DA7280F-6BC1-4121-9712-FB490D67013A}" dt="2024-01-18T13:28:33.603" v="368" actId="20578"/>
        <pc:sldMkLst>
          <pc:docMk/>
          <pc:sldMk cId="3525149" sldId="2088"/>
        </pc:sldMkLst>
        <pc:spChg chg="add del mod">
          <ac:chgData name="Qiniso Luthuli         Transnet Property     PTA" userId="97582c04-340a-4cf4-ae3d-b11efb9cad31" providerId="ADAL" clId="{4DA7280F-6BC1-4121-9712-FB490D67013A}" dt="2024-01-18T13:15:36.848" v="273"/>
          <ac:spMkLst>
            <pc:docMk/>
            <pc:sldMk cId="3525149" sldId="2088"/>
            <ac:spMk id="4" creationId="{76F41EAE-78CF-4FDF-AC5E-669E5E36C73F}"/>
          </ac:spMkLst>
        </pc:spChg>
        <pc:spChg chg="add mod">
          <ac:chgData name="Qiniso Luthuli         Transnet Property     PTA" userId="97582c04-340a-4cf4-ae3d-b11efb9cad31" providerId="ADAL" clId="{4DA7280F-6BC1-4121-9712-FB490D67013A}" dt="2024-01-18T13:15:42.973" v="275" actId="14100"/>
          <ac:spMkLst>
            <pc:docMk/>
            <pc:sldMk cId="3525149" sldId="2088"/>
            <ac:spMk id="8" creationId="{46FAF519-634D-C589-4E72-DE06AB215FFF}"/>
          </ac:spMkLst>
        </pc:spChg>
        <pc:spChg chg="mod">
          <ac:chgData name="Qiniso Luthuli         Transnet Property     PTA" userId="97582c04-340a-4cf4-ae3d-b11efb9cad31" providerId="ADAL" clId="{4DA7280F-6BC1-4121-9712-FB490D67013A}" dt="2024-01-18T13:26:14.030" v="359" actId="20577"/>
          <ac:spMkLst>
            <pc:docMk/>
            <pc:sldMk cId="3525149" sldId="2088"/>
            <ac:spMk id="19" creationId="{5A7DDE8A-B245-7F8D-DA6F-32478A5A14BA}"/>
          </ac:spMkLst>
        </pc:spChg>
        <pc:graphicFrameChg chg="add del mod">
          <ac:chgData name="Qiniso Luthuli         Transnet Property     PTA" userId="97582c04-340a-4cf4-ae3d-b11efb9cad31" providerId="ADAL" clId="{4DA7280F-6BC1-4121-9712-FB490D67013A}" dt="2024-01-18T13:15:36.848" v="273"/>
          <ac:graphicFrameMkLst>
            <pc:docMk/>
            <pc:sldMk cId="3525149" sldId="2088"/>
            <ac:graphicFrameMk id="3" creationId="{592B841A-6C74-8D51-FC53-297A00CFDEB6}"/>
          </ac:graphicFrameMkLst>
        </pc:graphicFrameChg>
        <pc:graphicFrameChg chg="del">
          <ac:chgData name="Qiniso Luthuli         Transnet Property     PTA" userId="97582c04-340a-4cf4-ae3d-b11efb9cad31" providerId="ADAL" clId="{4DA7280F-6BC1-4121-9712-FB490D67013A}" dt="2024-01-18T13:15:06.188" v="271" actId="478"/>
          <ac:graphicFrameMkLst>
            <pc:docMk/>
            <pc:sldMk cId="3525149" sldId="2088"/>
            <ac:graphicFrameMk id="5" creationId="{7047877A-274B-5C72-583E-6D613C07CB29}"/>
          </ac:graphicFrameMkLst>
        </pc:graphicFrameChg>
        <pc:graphicFrameChg chg="del">
          <ac:chgData name="Qiniso Luthuli         Transnet Property     PTA" userId="97582c04-340a-4cf4-ae3d-b11efb9cad31" providerId="ADAL" clId="{4DA7280F-6BC1-4121-9712-FB490D67013A}" dt="2024-01-18T13:16:38.706" v="282" actId="21"/>
          <ac:graphicFrameMkLst>
            <pc:docMk/>
            <pc:sldMk cId="3525149" sldId="2088"/>
            <ac:graphicFrameMk id="6" creationId="{22F42212-4810-E745-F728-1E52E9F882F7}"/>
          </ac:graphicFrameMkLst>
        </pc:graphicFrameChg>
        <pc:graphicFrameChg chg="add del mod ord modGraphic">
          <ac:chgData name="Qiniso Luthuli         Transnet Property     PTA" userId="97582c04-340a-4cf4-ae3d-b11efb9cad31" providerId="ADAL" clId="{4DA7280F-6BC1-4121-9712-FB490D67013A}" dt="2024-01-18T13:26:06.706" v="343" actId="478"/>
          <ac:graphicFrameMkLst>
            <pc:docMk/>
            <pc:sldMk cId="3525149" sldId="2088"/>
            <ac:graphicFrameMk id="7" creationId="{735527B9-04FA-FBBD-16DF-2F2D72C2DBC4}"/>
          </ac:graphicFrameMkLst>
        </pc:graphicFrameChg>
      </pc:sldChg>
      <pc:sldChg chg="add ord">
        <pc:chgData name="Qiniso Luthuli         Transnet Property     PTA" userId="97582c04-340a-4cf4-ae3d-b11efb9cad31" providerId="ADAL" clId="{4DA7280F-6BC1-4121-9712-FB490D67013A}" dt="2024-01-18T13:28:31.404" v="367"/>
        <pc:sldMkLst>
          <pc:docMk/>
          <pc:sldMk cId="1376267717" sldId="2089"/>
        </pc:sldMkLst>
      </pc:sldChg>
    </pc:docChg>
  </pc:docChgLst>
  <pc:docChgLst>
    <pc:chgData name="Obed Mmbengeni     Transnet Property    JHB" userId="S::obed.mmbengeni@transnet.net::2705e92a-9795-45bf-aa5d-d31def6fcb41" providerId="AD" clId="Web-{8FFB0633-53FF-5160-7C99-E3B7FD7D1A3F}"/>
    <pc:docChg chg="modSld">
      <pc:chgData name="Obed Mmbengeni     Transnet Property    JHB" userId="S::obed.mmbengeni@transnet.net::2705e92a-9795-45bf-aa5d-d31def6fcb41" providerId="AD" clId="Web-{8FFB0633-53FF-5160-7C99-E3B7FD7D1A3F}" dt="2024-01-22T08:08:15.308" v="85" actId="20577"/>
      <pc:docMkLst>
        <pc:docMk/>
      </pc:docMkLst>
      <pc:sldChg chg="delSp modSp">
        <pc:chgData name="Obed Mmbengeni     Transnet Property    JHB" userId="S::obed.mmbengeni@transnet.net::2705e92a-9795-45bf-aa5d-d31def6fcb41" providerId="AD" clId="Web-{8FFB0633-53FF-5160-7C99-E3B7FD7D1A3F}" dt="2024-01-22T08:08:15.308" v="85" actId="20577"/>
        <pc:sldMkLst>
          <pc:docMk/>
          <pc:sldMk cId="2190344448" sldId="2085"/>
        </pc:sldMkLst>
        <pc:spChg chg="del">
          <ac:chgData name="Obed Mmbengeni     Transnet Property    JHB" userId="S::obed.mmbengeni@transnet.net::2705e92a-9795-45bf-aa5d-d31def6fcb41" providerId="AD" clId="Web-{8FFB0633-53FF-5160-7C99-E3B7FD7D1A3F}" dt="2024-01-22T08:07:08.885" v="67"/>
          <ac:spMkLst>
            <pc:docMk/>
            <pc:sldMk cId="2190344448" sldId="2085"/>
            <ac:spMk id="8" creationId="{AD70BA18-1CBC-6215-7857-FDD3F19C3D4C}"/>
          </ac:spMkLst>
        </pc:spChg>
        <pc:spChg chg="mod">
          <ac:chgData name="Obed Mmbengeni     Transnet Property    JHB" userId="S::obed.mmbengeni@transnet.net::2705e92a-9795-45bf-aa5d-d31def6fcb41" providerId="AD" clId="Web-{8FFB0633-53FF-5160-7C99-E3B7FD7D1A3F}" dt="2024-01-22T08:08:15.308" v="85" actId="20577"/>
          <ac:spMkLst>
            <pc:docMk/>
            <pc:sldMk cId="2190344448" sldId="2085"/>
            <ac:spMk id="24" creationId="{F56F26D1-1979-4E75-BF61-3D4E4DF77D1D}"/>
          </ac:spMkLst>
        </pc:spChg>
        <pc:graphicFrameChg chg="del">
          <ac:chgData name="Obed Mmbengeni     Transnet Property    JHB" userId="S::obed.mmbengeni@transnet.net::2705e92a-9795-45bf-aa5d-d31def6fcb41" providerId="AD" clId="Web-{8FFB0633-53FF-5160-7C99-E3B7FD7D1A3F}" dt="2024-01-22T08:07:16.620" v="68"/>
          <ac:graphicFrameMkLst>
            <pc:docMk/>
            <pc:sldMk cId="2190344448" sldId="2085"/>
            <ac:graphicFrameMk id="9" creationId="{F9E3067D-22B9-9544-C0A6-1C0123CE1C9F}"/>
          </ac:graphicFrameMkLst>
        </pc:graphicFrameChg>
      </pc:sldChg>
    </pc:docChg>
  </pc:docChgLst>
  <pc:docChgLst>
    <pc:chgData name="Nosipho Bhengu   Transnet Property   Durban" userId="S::nosipho.bhengu@transnet.net::97380147-6f8d-4228-b37a-4680380c2fbf" providerId="AD" clId="Web-{25746575-4122-4FC4-8AAF-678D5AEAF392}"/>
    <pc:docChg chg="modSld">
      <pc:chgData name="Nosipho Bhengu   Transnet Property   Durban" userId="S::nosipho.bhengu@transnet.net::97380147-6f8d-4228-b37a-4680380c2fbf" providerId="AD" clId="Web-{25746575-4122-4FC4-8AAF-678D5AEAF392}" dt="2024-01-18T15:51:24.717" v="178" actId="1076"/>
      <pc:docMkLst>
        <pc:docMk/>
      </pc:docMkLst>
      <pc:sldChg chg="addSp delSp modSp">
        <pc:chgData name="Nosipho Bhengu   Transnet Property   Durban" userId="S::nosipho.bhengu@transnet.net::97380147-6f8d-4228-b37a-4680380c2fbf" providerId="AD" clId="Web-{25746575-4122-4FC4-8AAF-678D5AEAF392}" dt="2024-01-18T15:51:24.717" v="178" actId="1076"/>
        <pc:sldMkLst>
          <pc:docMk/>
          <pc:sldMk cId="910211464" sldId="2050"/>
        </pc:sldMkLst>
        <pc:spChg chg="mod">
          <ac:chgData name="Nosipho Bhengu   Transnet Property   Durban" userId="S::nosipho.bhengu@transnet.net::97380147-6f8d-4228-b37a-4680380c2fbf" providerId="AD" clId="Web-{25746575-4122-4FC4-8AAF-678D5AEAF392}" dt="2024-01-18T15:51:24.717" v="178" actId="1076"/>
          <ac:spMkLst>
            <pc:docMk/>
            <pc:sldMk cId="910211464" sldId="2050"/>
            <ac:spMk id="5" creationId="{1F54FC13-02AE-90E1-C564-F0EE8DD75D6F}"/>
          </ac:spMkLst>
        </pc:spChg>
        <pc:spChg chg="mod">
          <ac:chgData name="Nosipho Bhengu   Transnet Property   Durban" userId="S::nosipho.bhengu@transnet.net::97380147-6f8d-4228-b37a-4680380c2fbf" providerId="AD" clId="Web-{25746575-4122-4FC4-8AAF-678D5AEAF392}" dt="2024-01-18T15:51:07.904" v="177" actId="20577"/>
          <ac:spMkLst>
            <pc:docMk/>
            <pc:sldMk cId="910211464" sldId="2050"/>
            <ac:spMk id="11" creationId="{6AEC1638-28F3-6F55-DF6F-C9CA11247ECE}"/>
          </ac:spMkLst>
        </pc:spChg>
        <pc:spChg chg="mod">
          <ac:chgData name="Nosipho Bhengu   Transnet Property   Durban" userId="S::nosipho.bhengu@transnet.net::97380147-6f8d-4228-b37a-4680380c2fbf" providerId="AD" clId="Web-{25746575-4122-4FC4-8AAF-678D5AEAF392}" dt="2024-01-18T15:41:56.444" v="170" actId="1076"/>
          <ac:spMkLst>
            <pc:docMk/>
            <pc:sldMk cId="910211464" sldId="2050"/>
            <ac:spMk id="12" creationId="{3B5E12DC-64D2-45C3-F3B8-46595D8598CD}"/>
          </ac:spMkLst>
        </pc:spChg>
        <pc:picChg chg="add del mod">
          <ac:chgData name="Nosipho Bhengu   Transnet Property   Durban" userId="S::nosipho.bhengu@transnet.net::97380147-6f8d-4228-b37a-4680380c2fbf" providerId="AD" clId="Web-{25746575-4122-4FC4-8AAF-678D5AEAF392}" dt="2024-01-18T15:40:39.974" v="123"/>
          <ac:picMkLst>
            <pc:docMk/>
            <pc:sldMk cId="910211464" sldId="2050"/>
            <ac:picMk id="7" creationId="{79C968D8-09B2-F0C1-5520-11DCD6D6A3FE}"/>
          </ac:picMkLst>
        </pc:picChg>
      </pc:sldChg>
    </pc:docChg>
  </pc:docChgLst>
  <pc:docChgLst>
    <pc:chgData name="Nosipho Bhengu   Transnet Property   Durban" userId="S::nosipho.bhengu@transnet.net::97380147-6f8d-4228-b37a-4680380c2fbf" providerId="AD" clId="Web-{4C5C710E-D0DA-4F77-B8FC-5BE44046B15C}"/>
    <pc:docChg chg="addSld delSld modSld sldOrd addSection modSection">
      <pc:chgData name="Nosipho Bhengu   Transnet Property   Durban" userId="S::nosipho.bhengu@transnet.net::97380147-6f8d-4228-b37a-4680380c2fbf" providerId="AD" clId="Web-{4C5C710E-D0DA-4F77-B8FC-5BE44046B15C}" dt="2024-01-18T14:06:52.663" v="62"/>
      <pc:docMkLst>
        <pc:docMk/>
      </pc:docMkLst>
      <pc:sldChg chg="modSp">
        <pc:chgData name="Nosipho Bhengu   Transnet Property   Durban" userId="S::nosipho.bhengu@transnet.net::97380147-6f8d-4228-b37a-4680380c2fbf" providerId="AD" clId="Web-{4C5C710E-D0DA-4F77-B8FC-5BE44046B15C}" dt="2024-01-18T13:07:40.184" v="21" actId="20577"/>
        <pc:sldMkLst>
          <pc:docMk/>
          <pc:sldMk cId="910211464" sldId="2050"/>
        </pc:sldMkLst>
        <pc:spChg chg="mod">
          <ac:chgData name="Nosipho Bhengu   Transnet Property   Durban" userId="S::nosipho.bhengu@transnet.net::97380147-6f8d-4228-b37a-4680380c2fbf" providerId="AD" clId="Web-{4C5C710E-D0DA-4F77-B8FC-5BE44046B15C}" dt="2024-01-18T13:07:40.184" v="21" actId="20577"/>
          <ac:spMkLst>
            <pc:docMk/>
            <pc:sldMk cId="910211464" sldId="2050"/>
            <ac:spMk id="11" creationId="{6AEC1638-28F3-6F55-DF6F-C9CA11247ECE}"/>
          </ac:spMkLst>
        </pc:spChg>
      </pc:sldChg>
      <pc:sldChg chg="ord">
        <pc:chgData name="Nosipho Bhengu   Transnet Property   Durban" userId="S::nosipho.bhengu@transnet.net::97380147-6f8d-4228-b37a-4680380c2fbf" providerId="AD" clId="Web-{4C5C710E-D0DA-4F77-B8FC-5BE44046B15C}" dt="2024-01-18T14:06:52.663" v="62"/>
        <pc:sldMkLst>
          <pc:docMk/>
          <pc:sldMk cId="4250548563" sldId="2055"/>
        </pc:sldMkLst>
      </pc:sldChg>
      <pc:sldChg chg="ord">
        <pc:chgData name="Nosipho Bhengu   Transnet Property   Durban" userId="S::nosipho.bhengu@transnet.net::97380147-6f8d-4228-b37a-4680380c2fbf" providerId="AD" clId="Web-{4C5C710E-D0DA-4F77-B8FC-5BE44046B15C}" dt="2024-01-18T13:49:05.978" v="32"/>
        <pc:sldMkLst>
          <pc:docMk/>
          <pc:sldMk cId="1525525468" sldId="2064"/>
        </pc:sldMkLst>
      </pc:sldChg>
      <pc:sldChg chg="new del ord">
        <pc:chgData name="Nosipho Bhengu   Transnet Property   Durban" userId="S::nosipho.bhengu@transnet.net::97380147-6f8d-4228-b37a-4680380c2fbf" providerId="AD" clId="Web-{4C5C710E-D0DA-4F77-B8FC-5BE44046B15C}" dt="2024-01-18T13:49:13.447" v="35"/>
        <pc:sldMkLst>
          <pc:docMk/>
          <pc:sldMk cId="2533975659" sldId="2090"/>
        </pc:sldMkLst>
      </pc:sldChg>
      <pc:sldChg chg="addSp delSp modSp new mod ord modClrScheme chgLayout">
        <pc:chgData name="Nosipho Bhengu   Transnet Property   Durban" userId="S::nosipho.bhengu@transnet.net::97380147-6f8d-4228-b37a-4680380c2fbf" providerId="AD" clId="Web-{4C5C710E-D0DA-4F77-B8FC-5BE44046B15C}" dt="2024-01-18T14:06:28.194" v="61" actId="20577"/>
        <pc:sldMkLst>
          <pc:docMk/>
          <pc:sldMk cId="1991172185" sldId="2091"/>
        </pc:sldMkLst>
        <pc:spChg chg="mod ord">
          <ac:chgData name="Nosipho Bhengu   Transnet Property   Durban" userId="S::nosipho.bhengu@transnet.net::97380147-6f8d-4228-b37a-4680380c2fbf" providerId="AD" clId="Web-{4C5C710E-D0DA-4F77-B8FC-5BE44046B15C}" dt="2024-01-18T14:06:28.194" v="61" actId="20577"/>
          <ac:spMkLst>
            <pc:docMk/>
            <pc:sldMk cId="1991172185" sldId="2091"/>
            <ac:spMk id="2" creationId="{1253FA4A-B50A-3BC6-9525-ED0418908EFB}"/>
          </ac:spMkLst>
        </pc:spChg>
        <pc:spChg chg="del mod ord">
          <ac:chgData name="Nosipho Bhengu   Transnet Property   Durban" userId="S::nosipho.bhengu@transnet.net::97380147-6f8d-4228-b37a-4680380c2fbf" providerId="AD" clId="Web-{4C5C710E-D0DA-4F77-B8FC-5BE44046B15C}" dt="2024-01-18T14:01:35.550" v="46"/>
          <ac:spMkLst>
            <pc:docMk/>
            <pc:sldMk cId="1991172185" sldId="2091"/>
            <ac:spMk id="3" creationId="{690C37B2-4D0B-8A30-9A57-871B106839C3}"/>
          </ac:spMkLst>
        </pc:spChg>
        <pc:spChg chg="add del mod">
          <ac:chgData name="Nosipho Bhengu   Transnet Property   Durban" userId="S::nosipho.bhengu@transnet.net::97380147-6f8d-4228-b37a-4680380c2fbf" providerId="AD" clId="Web-{4C5C710E-D0DA-4F77-B8FC-5BE44046B15C}" dt="2024-01-18T14:02:19.347" v="50"/>
          <ac:spMkLst>
            <pc:docMk/>
            <pc:sldMk cId="1991172185" sldId="2091"/>
            <ac:spMk id="5" creationId="{6F8C251D-3DB9-4F69-CFB1-3E96CBEAA065}"/>
          </ac:spMkLst>
        </pc:spChg>
        <pc:spChg chg="add del mod">
          <ac:chgData name="Nosipho Bhengu   Transnet Property   Durban" userId="S::nosipho.bhengu@transnet.net::97380147-6f8d-4228-b37a-4680380c2fbf" providerId="AD" clId="Web-{4C5C710E-D0DA-4F77-B8FC-5BE44046B15C}" dt="2024-01-18T14:02:43.723" v="53"/>
          <ac:spMkLst>
            <pc:docMk/>
            <pc:sldMk cId="1991172185" sldId="2091"/>
            <ac:spMk id="7" creationId="{E8414985-39AE-0B98-53C2-131723A9FBA8}"/>
          </ac:spMkLst>
        </pc:spChg>
        <pc:grpChg chg="add">
          <ac:chgData name="Nosipho Bhengu   Transnet Property   Durban" userId="S::nosipho.bhengu@transnet.net::97380147-6f8d-4228-b37a-4680380c2fbf" providerId="AD" clId="Web-{4C5C710E-D0DA-4F77-B8FC-5BE44046B15C}" dt="2024-01-18T14:02:57.160" v="54"/>
          <ac:grpSpMkLst>
            <pc:docMk/>
            <pc:sldMk cId="1991172185" sldId="2091"/>
            <ac:grpSpMk id="29" creationId="{AA2E3B7B-5339-A95D-D4CF-554DF8DE133F}"/>
          </ac:grpSpMkLst>
        </pc:grpChg>
      </pc:sldChg>
    </pc:docChg>
  </pc:docChgLst>
  <pc:docChgLst>
    <pc:chgData name="Obed Mmbengeni     Transnet Property    JHB" userId="S::obed.mmbengeni@transnet.net::2705e92a-9795-45bf-aa5d-d31def6fcb41" providerId="AD" clId="Web-{4A92DD75-A813-B999-C2DF-A3B41A25BEA9}"/>
    <pc:docChg chg="addSld delSld modSld modSection">
      <pc:chgData name="Obed Mmbengeni     Transnet Property    JHB" userId="S::obed.mmbengeni@transnet.net::2705e92a-9795-45bf-aa5d-d31def6fcb41" providerId="AD" clId="Web-{4A92DD75-A813-B999-C2DF-A3B41A25BEA9}" dt="2024-01-19T11:50:17.789" v="93"/>
      <pc:docMkLst>
        <pc:docMk/>
      </pc:docMkLst>
      <pc:sldChg chg="modSp">
        <pc:chgData name="Obed Mmbengeni     Transnet Property    JHB" userId="S::obed.mmbengeni@transnet.net::2705e92a-9795-45bf-aa5d-d31def6fcb41" providerId="AD" clId="Web-{4A92DD75-A813-B999-C2DF-A3B41A25BEA9}" dt="2024-01-19T11:48:56.771" v="59" actId="1076"/>
        <pc:sldMkLst>
          <pc:docMk/>
          <pc:sldMk cId="3913064372" sldId="2086"/>
        </pc:sldMkLst>
        <pc:graphicFrameChg chg="mod modGraphic">
          <ac:chgData name="Obed Mmbengeni     Transnet Property    JHB" userId="S::obed.mmbengeni@transnet.net::2705e92a-9795-45bf-aa5d-d31def6fcb41" providerId="AD" clId="Web-{4A92DD75-A813-B999-C2DF-A3B41A25BEA9}" dt="2024-01-19T11:48:56.771" v="59" actId="1076"/>
          <ac:graphicFrameMkLst>
            <pc:docMk/>
            <pc:sldMk cId="3913064372" sldId="2086"/>
            <ac:graphicFrameMk id="4" creationId="{2BF25635-AB30-E6D9-1997-3B702CE9C542}"/>
          </ac:graphicFrameMkLst>
        </pc:graphicFrameChg>
      </pc:sldChg>
      <pc:sldChg chg="modSp">
        <pc:chgData name="Obed Mmbengeni     Transnet Property    JHB" userId="S::obed.mmbengeni@transnet.net::2705e92a-9795-45bf-aa5d-d31def6fcb41" providerId="AD" clId="Web-{4A92DD75-A813-B999-C2DF-A3B41A25BEA9}" dt="2024-01-19T11:49:24.568" v="91" actId="1076"/>
        <pc:sldMkLst>
          <pc:docMk/>
          <pc:sldMk cId="1850526330" sldId="2087"/>
        </pc:sldMkLst>
        <pc:graphicFrameChg chg="mod modGraphic">
          <ac:chgData name="Obed Mmbengeni     Transnet Property    JHB" userId="S::obed.mmbengeni@transnet.net::2705e92a-9795-45bf-aa5d-d31def6fcb41" providerId="AD" clId="Web-{4A92DD75-A813-B999-C2DF-A3B41A25BEA9}" dt="2024-01-19T11:49:24.568" v="91" actId="1076"/>
          <ac:graphicFrameMkLst>
            <pc:docMk/>
            <pc:sldMk cId="1850526330" sldId="2087"/>
            <ac:graphicFrameMk id="5" creationId="{7047877A-274B-5C72-583E-6D613C07CB29}"/>
          </ac:graphicFrameMkLst>
        </pc:graphicFrameChg>
      </pc:sldChg>
      <pc:sldChg chg="del">
        <pc:chgData name="Obed Mmbengeni     Transnet Property    JHB" userId="S::obed.mmbengeni@transnet.net::2705e92a-9795-45bf-aa5d-d31def6fcb41" providerId="AD" clId="Web-{4A92DD75-A813-B999-C2DF-A3B41A25BEA9}" dt="2024-01-19T10:25:25.130" v="7"/>
        <pc:sldMkLst>
          <pc:docMk/>
          <pc:sldMk cId="3525149" sldId="2088"/>
        </pc:sldMkLst>
      </pc:sldChg>
      <pc:sldChg chg="modSp">
        <pc:chgData name="Obed Mmbengeni     Transnet Property    JHB" userId="S::obed.mmbengeni@transnet.net::2705e92a-9795-45bf-aa5d-d31def6fcb41" providerId="AD" clId="Web-{4A92DD75-A813-B999-C2DF-A3B41A25BEA9}" dt="2024-01-19T11:50:17.789" v="93"/>
        <pc:sldMkLst>
          <pc:docMk/>
          <pc:sldMk cId="1376267717" sldId="2089"/>
        </pc:sldMkLst>
        <pc:graphicFrameChg chg="mod modGraphic">
          <ac:chgData name="Obed Mmbengeni     Transnet Property    JHB" userId="S::obed.mmbengeni@transnet.net::2705e92a-9795-45bf-aa5d-d31def6fcb41" providerId="AD" clId="Web-{4A92DD75-A813-B999-C2DF-A3B41A25BEA9}" dt="2024-01-19T11:50:17.789" v="93"/>
          <ac:graphicFrameMkLst>
            <pc:docMk/>
            <pc:sldMk cId="1376267717" sldId="2089"/>
            <ac:graphicFrameMk id="7" creationId="{735527B9-04FA-FBBD-16DF-2F2D72C2DBC4}"/>
          </ac:graphicFrameMkLst>
        </pc:graphicFrameChg>
      </pc:sldChg>
      <pc:sldChg chg="del">
        <pc:chgData name="Obed Mmbengeni     Transnet Property    JHB" userId="S::obed.mmbengeni@transnet.net::2705e92a-9795-45bf-aa5d-d31def6fcb41" providerId="AD" clId="Web-{4A92DD75-A813-B999-C2DF-A3B41A25BEA9}" dt="2024-01-19T10:24:18.081" v="6"/>
        <pc:sldMkLst>
          <pc:docMk/>
          <pc:sldMk cId="2132558334" sldId="2093"/>
        </pc:sldMkLst>
      </pc:sldChg>
      <pc:sldChg chg="del">
        <pc:chgData name="Obed Mmbengeni     Transnet Property    JHB" userId="S::obed.mmbengeni@transnet.net::2705e92a-9795-45bf-aa5d-d31def6fcb41" providerId="AD" clId="Web-{4A92DD75-A813-B999-C2DF-A3B41A25BEA9}" dt="2024-01-19T10:26:02.881" v="8"/>
        <pc:sldMkLst>
          <pc:docMk/>
          <pc:sldMk cId="796462007" sldId="2094"/>
        </pc:sldMkLst>
      </pc:sldChg>
      <pc:sldChg chg="add">
        <pc:chgData name="Obed Mmbengeni     Transnet Property    JHB" userId="S::obed.mmbengeni@transnet.net::2705e92a-9795-45bf-aa5d-d31def6fcb41" providerId="AD" clId="Web-{4A92DD75-A813-B999-C2DF-A3B41A25BEA9}" dt="2024-01-19T10:23:54.393" v="0"/>
        <pc:sldMkLst>
          <pc:docMk/>
          <pc:sldMk cId="2337959193" sldId="2098"/>
        </pc:sldMkLst>
      </pc:sldChg>
      <pc:sldChg chg="add">
        <pc:chgData name="Obed Mmbengeni     Transnet Property    JHB" userId="S::obed.mmbengeni@transnet.net::2705e92a-9795-45bf-aa5d-d31def6fcb41" providerId="AD" clId="Web-{4A92DD75-A813-B999-C2DF-A3B41A25BEA9}" dt="2024-01-19T10:23:54.518" v="1"/>
        <pc:sldMkLst>
          <pc:docMk/>
          <pc:sldMk cId="2858778564" sldId="2099"/>
        </pc:sldMkLst>
      </pc:sldChg>
      <pc:sldChg chg="add">
        <pc:chgData name="Obed Mmbengeni     Transnet Property    JHB" userId="S::obed.mmbengeni@transnet.net::2705e92a-9795-45bf-aa5d-d31def6fcb41" providerId="AD" clId="Web-{4A92DD75-A813-B999-C2DF-A3B41A25BEA9}" dt="2024-01-19T10:23:54.690" v="2"/>
        <pc:sldMkLst>
          <pc:docMk/>
          <pc:sldMk cId="4019878373" sldId="2100"/>
        </pc:sldMkLst>
      </pc:sldChg>
      <pc:sldChg chg="add">
        <pc:chgData name="Obed Mmbengeni     Transnet Property    JHB" userId="S::obed.mmbengeni@transnet.net::2705e92a-9795-45bf-aa5d-d31def6fcb41" providerId="AD" clId="Web-{4A92DD75-A813-B999-C2DF-A3B41A25BEA9}" dt="2024-01-19T10:23:54.878" v="3"/>
        <pc:sldMkLst>
          <pc:docMk/>
          <pc:sldMk cId="4273976434" sldId="2101"/>
        </pc:sldMkLst>
      </pc:sldChg>
      <pc:sldChg chg="add">
        <pc:chgData name="Obed Mmbengeni     Transnet Property    JHB" userId="S::obed.mmbengeni@transnet.net::2705e92a-9795-45bf-aa5d-d31def6fcb41" providerId="AD" clId="Web-{4A92DD75-A813-B999-C2DF-A3B41A25BEA9}" dt="2024-01-19T10:23:55.050" v="4"/>
        <pc:sldMkLst>
          <pc:docMk/>
          <pc:sldMk cId="3828851222" sldId="2102"/>
        </pc:sldMkLst>
      </pc:sldChg>
      <pc:sldChg chg="add">
        <pc:chgData name="Obed Mmbengeni     Transnet Property    JHB" userId="S::obed.mmbengeni@transnet.net::2705e92a-9795-45bf-aa5d-d31def6fcb41" providerId="AD" clId="Web-{4A92DD75-A813-B999-C2DF-A3B41A25BEA9}" dt="2024-01-19T10:23:55.253" v="5"/>
        <pc:sldMkLst>
          <pc:docMk/>
          <pc:sldMk cId="3477717531" sldId="2103"/>
        </pc:sldMkLst>
      </pc:sldChg>
    </pc:docChg>
  </pc:docChgLst>
  <pc:docChgLst>
    <pc:chgData name="Chadwin Pylman   Transnet Property   JHB" userId="db6a954d-bec4-4db4-9caf-05e7b37f6917" providerId="ADAL" clId="{3C533B8D-DF44-409D-94A0-AEE6D5C3E5F3}"/>
    <pc:docChg chg="undo redo custSel delSld modSld modSection">
      <pc:chgData name="Chadwin Pylman   Transnet Property   JHB" userId="db6a954d-bec4-4db4-9caf-05e7b37f6917" providerId="ADAL" clId="{3C533B8D-DF44-409D-94A0-AEE6D5C3E5F3}" dt="2024-01-22T08:31:18.040" v="718" actId="1035"/>
      <pc:docMkLst>
        <pc:docMk/>
      </pc:docMkLst>
      <pc:sldChg chg="modSp mod">
        <pc:chgData name="Chadwin Pylman   Transnet Property   JHB" userId="db6a954d-bec4-4db4-9caf-05e7b37f6917" providerId="ADAL" clId="{3C533B8D-DF44-409D-94A0-AEE6D5C3E5F3}" dt="2024-01-22T08:10:14.491" v="465" actId="14734"/>
        <pc:sldMkLst>
          <pc:docMk/>
          <pc:sldMk cId="1378339560" sldId="2029"/>
        </pc:sldMkLst>
        <pc:spChg chg="mod">
          <ac:chgData name="Chadwin Pylman   Transnet Property   JHB" userId="db6a954d-bec4-4db4-9caf-05e7b37f6917" providerId="ADAL" clId="{3C533B8D-DF44-409D-94A0-AEE6D5C3E5F3}" dt="2024-01-22T07:41:26.408" v="12" actId="404"/>
          <ac:spMkLst>
            <pc:docMk/>
            <pc:sldMk cId="1378339560" sldId="2029"/>
            <ac:spMk id="16" creationId="{C94B949C-E472-BAD8-DE07-71DC0F64E36F}"/>
          </ac:spMkLst>
        </pc:spChg>
        <pc:spChg chg="mod">
          <ac:chgData name="Chadwin Pylman   Transnet Property   JHB" userId="db6a954d-bec4-4db4-9caf-05e7b37f6917" providerId="ADAL" clId="{3C533B8D-DF44-409D-94A0-AEE6D5C3E5F3}" dt="2024-01-22T07:41:16.306" v="10" actId="2711"/>
          <ac:spMkLst>
            <pc:docMk/>
            <pc:sldMk cId="1378339560" sldId="2029"/>
            <ac:spMk id="130" creationId="{EF382210-A450-6F80-3314-8A2842F91CA5}"/>
          </ac:spMkLst>
        </pc:spChg>
        <pc:graphicFrameChg chg="mod modGraphic">
          <ac:chgData name="Chadwin Pylman   Transnet Property   JHB" userId="db6a954d-bec4-4db4-9caf-05e7b37f6917" providerId="ADAL" clId="{3C533B8D-DF44-409D-94A0-AEE6D5C3E5F3}" dt="2024-01-22T08:10:14.491" v="465" actId="14734"/>
          <ac:graphicFrameMkLst>
            <pc:docMk/>
            <pc:sldMk cId="1378339560" sldId="2029"/>
            <ac:graphicFrameMk id="20" creationId="{DE0DA2DE-03F7-09AD-73F1-C949E5416CAB}"/>
          </ac:graphicFrameMkLst>
        </pc:graphicFrameChg>
      </pc:sldChg>
      <pc:sldChg chg="modSp mod">
        <pc:chgData name="Chadwin Pylman   Transnet Property   JHB" userId="db6a954d-bec4-4db4-9caf-05e7b37f6917" providerId="ADAL" clId="{3C533B8D-DF44-409D-94A0-AEE6D5C3E5F3}" dt="2024-01-22T08:31:18.040" v="718" actId="1035"/>
        <pc:sldMkLst>
          <pc:docMk/>
          <pc:sldMk cId="910211464" sldId="2050"/>
        </pc:sldMkLst>
        <pc:spChg chg="mod">
          <ac:chgData name="Chadwin Pylman   Transnet Property   JHB" userId="db6a954d-bec4-4db4-9caf-05e7b37f6917" providerId="ADAL" clId="{3C533B8D-DF44-409D-94A0-AEE6D5C3E5F3}" dt="2024-01-22T08:31:18.040" v="718" actId="1035"/>
          <ac:spMkLst>
            <pc:docMk/>
            <pc:sldMk cId="910211464" sldId="2050"/>
            <ac:spMk id="5" creationId="{1F54FC13-02AE-90E1-C564-F0EE8DD75D6F}"/>
          </ac:spMkLst>
        </pc:spChg>
        <pc:spChg chg="mod">
          <ac:chgData name="Chadwin Pylman   Transnet Property   JHB" userId="db6a954d-bec4-4db4-9caf-05e7b37f6917" providerId="ADAL" clId="{3C533B8D-DF44-409D-94A0-AEE6D5C3E5F3}" dt="2024-01-22T08:17:55.839" v="536" actId="14100"/>
          <ac:spMkLst>
            <pc:docMk/>
            <pc:sldMk cId="910211464" sldId="2050"/>
            <ac:spMk id="11" creationId="{6AEC1638-28F3-6F55-DF6F-C9CA11247ECE}"/>
          </ac:spMkLst>
        </pc:spChg>
        <pc:spChg chg="mod">
          <ac:chgData name="Chadwin Pylman   Transnet Property   JHB" userId="db6a954d-bec4-4db4-9caf-05e7b37f6917" providerId="ADAL" clId="{3C533B8D-DF44-409D-94A0-AEE6D5C3E5F3}" dt="2024-01-22T08:18:04.675" v="539" actId="1076"/>
          <ac:spMkLst>
            <pc:docMk/>
            <pc:sldMk cId="910211464" sldId="2050"/>
            <ac:spMk id="12" creationId="{3B5E12DC-64D2-45C3-F3B8-46595D8598CD}"/>
          </ac:spMkLst>
        </pc:spChg>
      </pc:sldChg>
      <pc:sldChg chg="modSp mod">
        <pc:chgData name="Chadwin Pylman   Transnet Property   JHB" userId="db6a954d-bec4-4db4-9caf-05e7b37f6917" providerId="ADAL" clId="{3C533B8D-DF44-409D-94A0-AEE6D5C3E5F3}" dt="2024-01-22T08:26:40.543" v="653" actId="113"/>
        <pc:sldMkLst>
          <pc:docMk/>
          <pc:sldMk cId="1525525468" sldId="2064"/>
        </pc:sldMkLst>
        <pc:spChg chg="mod">
          <ac:chgData name="Chadwin Pylman   Transnet Property   JHB" userId="db6a954d-bec4-4db4-9caf-05e7b37f6917" providerId="ADAL" clId="{3C533B8D-DF44-409D-94A0-AEE6D5C3E5F3}" dt="2024-01-22T07:42:12.023" v="21" actId="2711"/>
          <ac:spMkLst>
            <pc:docMk/>
            <pc:sldMk cId="1525525468" sldId="2064"/>
            <ac:spMk id="2" creationId="{38C7DF0D-CF3D-BC6E-2657-3E6DE238EA93}"/>
          </ac:spMkLst>
        </pc:spChg>
        <pc:spChg chg="mod">
          <ac:chgData name="Chadwin Pylman   Transnet Property   JHB" userId="db6a954d-bec4-4db4-9caf-05e7b37f6917" providerId="ADAL" clId="{3C533B8D-DF44-409D-94A0-AEE6D5C3E5F3}" dt="2024-01-22T07:42:02.807" v="20" actId="403"/>
          <ac:spMkLst>
            <pc:docMk/>
            <pc:sldMk cId="1525525468" sldId="2064"/>
            <ac:spMk id="19" creationId="{5A7DDE8A-B245-7F8D-DA6F-32478A5A14BA}"/>
          </ac:spMkLst>
        </pc:spChg>
        <pc:spChg chg="mod">
          <ac:chgData name="Chadwin Pylman   Transnet Property   JHB" userId="db6a954d-bec4-4db4-9caf-05e7b37f6917" providerId="ADAL" clId="{3C533B8D-DF44-409D-94A0-AEE6D5C3E5F3}" dt="2024-01-22T08:18:36.824" v="544" actId="20577"/>
          <ac:spMkLst>
            <pc:docMk/>
            <pc:sldMk cId="1525525468" sldId="2064"/>
            <ac:spMk id="24" creationId="{F56F26D1-1979-4E75-BF61-3D4E4DF77D1D}"/>
          </ac:spMkLst>
        </pc:spChg>
        <pc:graphicFrameChg chg="mod modGraphic">
          <ac:chgData name="Chadwin Pylman   Transnet Property   JHB" userId="db6a954d-bec4-4db4-9caf-05e7b37f6917" providerId="ADAL" clId="{3C533B8D-DF44-409D-94A0-AEE6D5C3E5F3}" dt="2024-01-22T08:26:40.543" v="653" actId="113"/>
          <ac:graphicFrameMkLst>
            <pc:docMk/>
            <pc:sldMk cId="1525525468" sldId="2064"/>
            <ac:graphicFrameMk id="3" creationId="{F03CF6A7-D93C-F9AD-F6C3-C87736FC6BEF}"/>
          </ac:graphicFrameMkLst>
        </pc:graphicFrameChg>
      </pc:sldChg>
      <pc:sldChg chg="modSp mod">
        <pc:chgData name="Chadwin Pylman   Transnet Property   JHB" userId="db6a954d-bec4-4db4-9caf-05e7b37f6917" providerId="ADAL" clId="{3C533B8D-DF44-409D-94A0-AEE6D5C3E5F3}" dt="2024-01-22T07:45:44.982" v="76" actId="1037"/>
        <pc:sldMkLst>
          <pc:docMk/>
          <pc:sldMk cId="1746865585" sldId="2072"/>
        </pc:sldMkLst>
        <pc:spChg chg="mod">
          <ac:chgData name="Chadwin Pylman   Transnet Property   JHB" userId="db6a954d-bec4-4db4-9caf-05e7b37f6917" providerId="ADAL" clId="{3C533B8D-DF44-409D-94A0-AEE6D5C3E5F3}" dt="2024-01-22T07:44:46.276" v="56" actId="2711"/>
          <ac:spMkLst>
            <pc:docMk/>
            <pc:sldMk cId="1746865585" sldId="2072"/>
            <ac:spMk id="2" creationId="{38C7DF0D-CF3D-BC6E-2657-3E6DE238EA93}"/>
          </ac:spMkLst>
        </pc:spChg>
        <pc:spChg chg="mod">
          <ac:chgData name="Chadwin Pylman   Transnet Property   JHB" userId="db6a954d-bec4-4db4-9caf-05e7b37f6917" providerId="ADAL" clId="{3C533B8D-DF44-409D-94A0-AEE6D5C3E5F3}" dt="2024-01-22T07:45:42.486" v="71" actId="6549"/>
          <ac:spMkLst>
            <pc:docMk/>
            <pc:sldMk cId="1746865585" sldId="2072"/>
            <ac:spMk id="7" creationId="{81B0B3C5-F282-4C82-936E-92EC3B1C40C6}"/>
          </ac:spMkLst>
        </pc:spChg>
        <pc:spChg chg="mod">
          <ac:chgData name="Chadwin Pylman   Transnet Property   JHB" userId="db6a954d-bec4-4db4-9caf-05e7b37f6917" providerId="ADAL" clId="{3C533B8D-DF44-409D-94A0-AEE6D5C3E5F3}" dt="2024-01-22T07:44:42.871" v="55" actId="404"/>
          <ac:spMkLst>
            <pc:docMk/>
            <pc:sldMk cId="1746865585" sldId="2072"/>
            <ac:spMk id="19" creationId="{5A7DDE8A-B245-7F8D-DA6F-32478A5A14BA}"/>
          </ac:spMkLst>
        </pc:spChg>
        <pc:picChg chg="mod">
          <ac:chgData name="Chadwin Pylman   Transnet Property   JHB" userId="db6a954d-bec4-4db4-9caf-05e7b37f6917" providerId="ADAL" clId="{3C533B8D-DF44-409D-94A0-AEE6D5C3E5F3}" dt="2024-01-22T07:45:44.982" v="76" actId="1037"/>
          <ac:picMkLst>
            <pc:docMk/>
            <pc:sldMk cId="1746865585" sldId="2072"/>
            <ac:picMk id="6" creationId="{78C1E4B4-34C6-476A-A01F-66DAFDE2556E}"/>
          </ac:picMkLst>
        </pc:picChg>
      </pc:sldChg>
      <pc:sldChg chg="modSp mod">
        <pc:chgData name="Chadwin Pylman   Transnet Property   JHB" userId="db6a954d-bec4-4db4-9caf-05e7b37f6917" providerId="ADAL" clId="{3C533B8D-DF44-409D-94A0-AEE6D5C3E5F3}" dt="2024-01-22T07:44:35.013" v="53" actId="1036"/>
        <pc:sldMkLst>
          <pc:docMk/>
          <pc:sldMk cId="2248887472" sldId="2079"/>
        </pc:sldMkLst>
        <pc:spChg chg="mod">
          <ac:chgData name="Chadwin Pylman   Transnet Property   JHB" userId="db6a954d-bec4-4db4-9caf-05e7b37f6917" providerId="ADAL" clId="{3C533B8D-DF44-409D-94A0-AEE6D5C3E5F3}" dt="2024-01-22T07:43:18.015" v="35" actId="2711"/>
          <ac:spMkLst>
            <pc:docMk/>
            <pc:sldMk cId="2248887472" sldId="2079"/>
            <ac:spMk id="2" creationId="{38C7DF0D-CF3D-BC6E-2657-3E6DE238EA93}"/>
          </ac:spMkLst>
        </pc:spChg>
        <pc:spChg chg="mod">
          <ac:chgData name="Chadwin Pylman   Transnet Property   JHB" userId="db6a954d-bec4-4db4-9caf-05e7b37f6917" providerId="ADAL" clId="{3C533B8D-DF44-409D-94A0-AEE6D5C3E5F3}" dt="2024-01-22T07:44:28.907" v="44" actId="14100"/>
          <ac:spMkLst>
            <pc:docMk/>
            <pc:sldMk cId="2248887472" sldId="2079"/>
            <ac:spMk id="5" creationId="{ED08547B-3449-E1DE-3AD7-FE4AA85905AB}"/>
          </ac:spMkLst>
        </pc:spChg>
        <pc:spChg chg="mod">
          <ac:chgData name="Chadwin Pylman   Transnet Property   JHB" userId="db6a954d-bec4-4db4-9caf-05e7b37f6917" providerId="ADAL" clId="{3C533B8D-DF44-409D-94A0-AEE6D5C3E5F3}" dt="2024-01-22T07:43:12.157" v="34" actId="404"/>
          <ac:spMkLst>
            <pc:docMk/>
            <pc:sldMk cId="2248887472" sldId="2079"/>
            <ac:spMk id="19" creationId="{5A7DDE8A-B245-7F8D-DA6F-32478A5A14BA}"/>
          </ac:spMkLst>
        </pc:spChg>
        <pc:picChg chg="mod">
          <ac:chgData name="Chadwin Pylman   Transnet Property   JHB" userId="db6a954d-bec4-4db4-9caf-05e7b37f6917" providerId="ADAL" clId="{3C533B8D-DF44-409D-94A0-AEE6D5C3E5F3}" dt="2024-01-22T07:44:35.013" v="53" actId="1036"/>
          <ac:picMkLst>
            <pc:docMk/>
            <pc:sldMk cId="2248887472" sldId="2079"/>
            <ac:picMk id="8" creationId="{CC3F6886-ECFB-460F-A410-031CA58D7C5C}"/>
          </ac:picMkLst>
        </pc:picChg>
      </pc:sldChg>
      <pc:sldChg chg="modSp mod">
        <pc:chgData name="Chadwin Pylman   Transnet Property   JHB" userId="db6a954d-bec4-4db4-9caf-05e7b37f6917" providerId="ADAL" clId="{3C533B8D-DF44-409D-94A0-AEE6D5C3E5F3}" dt="2024-01-22T08:28:02.450" v="668" actId="20577"/>
        <pc:sldMkLst>
          <pc:docMk/>
          <pc:sldMk cId="1117199322" sldId="2082"/>
        </pc:sldMkLst>
        <pc:spChg chg="mod">
          <ac:chgData name="Chadwin Pylman   Transnet Property   JHB" userId="db6a954d-bec4-4db4-9caf-05e7b37f6917" providerId="ADAL" clId="{3C533B8D-DF44-409D-94A0-AEE6D5C3E5F3}" dt="2024-01-22T07:46:40.876" v="87" actId="2711"/>
          <ac:spMkLst>
            <pc:docMk/>
            <pc:sldMk cId="1117199322" sldId="2082"/>
            <ac:spMk id="2" creationId="{38C7DF0D-CF3D-BC6E-2657-3E6DE238EA93}"/>
          </ac:spMkLst>
        </pc:spChg>
        <pc:spChg chg="mod">
          <ac:chgData name="Chadwin Pylman   Transnet Property   JHB" userId="db6a954d-bec4-4db4-9caf-05e7b37f6917" providerId="ADAL" clId="{3C533B8D-DF44-409D-94A0-AEE6D5C3E5F3}" dt="2024-01-22T07:46:37.390" v="86" actId="404"/>
          <ac:spMkLst>
            <pc:docMk/>
            <pc:sldMk cId="1117199322" sldId="2082"/>
            <ac:spMk id="19" creationId="{5A7DDE8A-B245-7F8D-DA6F-32478A5A14BA}"/>
          </ac:spMkLst>
        </pc:spChg>
        <pc:spChg chg="mod">
          <ac:chgData name="Chadwin Pylman   Transnet Property   JHB" userId="db6a954d-bec4-4db4-9caf-05e7b37f6917" providerId="ADAL" clId="{3C533B8D-DF44-409D-94A0-AEE6D5C3E5F3}" dt="2024-01-22T08:28:02.450" v="668" actId="20577"/>
          <ac:spMkLst>
            <pc:docMk/>
            <pc:sldMk cId="1117199322" sldId="2082"/>
            <ac:spMk id="24" creationId="{F56F26D1-1979-4E75-BF61-3D4E4DF77D1D}"/>
          </ac:spMkLst>
        </pc:spChg>
      </pc:sldChg>
      <pc:sldChg chg="modSp mod">
        <pc:chgData name="Chadwin Pylman   Transnet Property   JHB" userId="db6a954d-bec4-4db4-9caf-05e7b37f6917" providerId="ADAL" clId="{3C533B8D-DF44-409D-94A0-AEE6D5C3E5F3}" dt="2024-01-22T08:28:39.120" v="698" actId="1038"/>
        <pc:sldMkLst>
          <pc:docMk/>
          <pc:sldMk cId="988186050" sldId="2083"/>
        </pc:sldMkLst>
        <pc:spChg chg="mod">
          <ac:chgData name="Chadwin Pylman   Transnet Property   JHB" userId="db6a954d-bec4-4db4-9caf-05e7b37f6917" providerId="ADAL" clId="{3C533B8D-DF44-409D-94A0-AEE6D5C3E5F3}" dt="2024-01-22T07:48:00.863" v="125" actId="2711"/>
          <ac:spMkLst>
            <pc:docMk/>
            <pc:sldMk cId="988186050" sldId="2083"/>
            <ac:spMk id="2" creationId="{38C7DF0D-CF3D-BC6E-2657-3E6DE238EA93}"/>
          </ac:spMkLst>
        </pc:spChg>
        <pc:spChg chg="mod">
          <ac:chgData name="Chadwin Pylman   Transnet Property   JHB" userId="db6a954d-bec4-4db4-9caf-05e7b37f6917" providerId="ADAL" clId="{3C533B8D-DF44-409D-94A0-AEE6D5C3E5F3}" dt="2024-01-22T08:20:04.035" v="566" actId="1035"/>
          <ac:spMkLst>
            <pc:docMk/>
            <pc:sldMk cId="988186050" sldId="2083"/>
            <ac:spMk id="6" creationId="{0FB8D84F-D157-72FE-3FB0-980B7F80A2A4}"/>
          </ac:spMkLst>
        </pc:spChg>
        <pc:spChg chg="mod">
          <ac:chgData name="Chadwin Pylman   Transnet Property   JHB" userId="db6a954d-bec4-4db4-9caf-05e7b37f6917" providerId="ADAL" clId="{3C533B8D-DF44-409D-94A0-AEE6D5C3E5F3}" dt="2024-01-22T07:47:56.760" v="124" actId="404"/>
          <ac:spMkLst>
            <pc:docMk/>
            <pc:sldMk cId="988186050" sldId="2083"/>
            <ac:spMk id="19" creationId="{5A7DDE8A-B245-7F8D-DA6F-32478A5A14BA}"/>
          </ac:spMkLst>
        </pc:spChg>
        <pc:picChg chg="mod">
          <ac:chgData name="Chadwin Pylman   Transnet Property   JHB" userId="db6a954d-bec4-4db4-9caf-05e7b37f6917" providerId="ADAL" clId="{3C533B8D-DF44-409D-94A0-AEE6D5C3E5F3}" dt="2024-01-22T08:28:39.120" v="698" actId="1038"/>
          <ac:picMkLst>
            <pc:docMk/>
            <pc:sldMk cId="988186050" sldId="2083"/>
            <ac:picMk id="4" creationId="{10C0C2B1-0A30-AAA3-CE85-02C3D42750E9}"/>
          </ac:picMkLst>
        </pc:picChg>
      </pc:sldChg>
      <pc:sldChg chg="modSp mod">
        <pc:chgData name="Chadwin Pylman   Transnet Property   JHB" userId="db6a954d-bec4-4db4-9caf-05e7b37f6917" providerId="ADAL" clId="{3C533B8D-DF44-409D-94A0-AEE6D5C3E5F3}" dt="2024-01-22T08:25:20.066" v="650" actId="20577"/>
        <pc:sldMkLst>
          <pc:docMk/>
          <pc:sldMk cId="2190344448" sldId="2085"/>
        </pc:sldMkLst>
        <pc:spChg chg="mod">
          <ac:chgData name="Chadwin Pylman   Transnet Property   JHB" userId="db6a954d-bec4-4db4-9caf-05e7b37f6917" providerId="ADAL" clId="{3C533B8D-DF44-409D-94A0-AEE6D5C3E5F3}" dt="2024-01-22T07:53:31.277" v="278" actId="2711"/>
          <ac:spMkLst>
            <pc:docMk/>
            <pc:sldMk cId="2190344448" sldId="2085"/>
            <ac:spMk id="2" creationId="{38C7DF0D-CF3D-BC6E-2657-3E6DE238EA93}"/>
          </ac:spMkLst>
        </pc:spChg>
        <pc:spChg chg="mod">
          <ac:chgData name="Chadwin Pylman   Transnet Property   JHB" userId="db6a954d-bec4-4db4-9caf-05e7b37f6917" providerId="ADAL" clId="{3C533B8D-DF44-409D-94A0-AEE6D5C3E5F3}" dt="2024-01-22T07:54:13.555" v="293" actId="255"/>
          <ac:spMkLst>
            <pc:docMk/>
            <pc:sldMk cId="2190344448" sldId="2085"/>
            <ac:spMk id="8" creationId="{AD70BA18-1CBC-6215-7857-FDD3F19C3D4C}"/>
          </ac:spMkLst>
        </pc:spChg>
        <pc:spChg chg="mod">
          <ac:chgData name="Chadwin Pylman   Transnet Property   JHB" userId="db6a954d-bec4-4db4-9caf-05e7b37f6917" providerId="ADAL" clId="{3C533B8D-DF44-409D-94A0-AEE6D5C3E5F3}" dt="2024-01-22T07:53:27.696" v="277" actId="404"/>
          <ac:spMkLst>
            <pc:docMk/>
            <pc:sldMk cId="2190344448" sldId="2085"/>
            <ac:spMk id="19" creationId="{5A7DDE8A-B245-7F8D-DA6F-32478A5A14BA}"/>
          </ac:spMkLst>
        </pc:spChg>
        <pc:spChg chg="mod">
          <ac:chgData name="Chadwin Pylman   Transnet Property   JHB" userId="db6a954d-bec4-4db4-9caf-05e7b37f6917" providerId="ADAL" clId="{3C533B8D-DF44-409D-94A0-AEE6D5C3E5F3}" dt="2024-01-22T08:25:20.066" v="650" actId="20577"/>
          <ac:spMkLst>
            <pc:docMk/>
            <pc:sldMk cId="2190344448" sldId="2085"/>
            <ac:spMk id="24" creationId="{F56F26D1-1979-4E75-BF61-3D4E4DF77D1D}"/>
          </ac:spMkLst>
        </pc:spChg>
        <pc:graphicFrameChg chg="mod modGraphic">
          <ac:chgData name="Chadwin Pylman   Transnet Property   JHB" userId="db6a954d-bec4-4db4-9caf-05e7b37f6917" providerId="ADAL" clId="{3C533B8D-DF44-409D-94A0-AEE6D5C3E5F3}" dt="2024-01-22T07:54:36.950" v="301" actId="404"/>
          <ac:graphicFrameMkLst>
            <pc:docMk/>
            <pc:sldMk cId="2190344448" sldId="2085"/>
            <ac:graphicFrameMk id="9" creationId="{F9E3067D-22B9-9544-C0A6-1C0123CE1C9F}"/>
          </ac:graphicFrameMkLst>
        </pc:graphicFrameChg>
      </pc:sldChg>
      <pc:sldChg chg="modSp del mod">
        <pc:chgData name="Chadwin Pylman   Transnet Property   JHB" userId="db6a954d-bec4-4db4-9caf-05e7b37f6917" providerId="ADAL" clId="{3C533B8D-DF44-409D-94A0-AEE6D5C3E5F3}" dt="2024-01-22T08:00:32.814" v="377" actId="47"/>
        <pc:sldMkLst>
          <pc:docMk/>
          <pc:sldMk cId="3913064372" sldId="2086"/>
        </pc:sldMkLst>
        <pc:spChg chg="mod">
          <ac:chgData name="Chadwin Pylman   Transnet Property   JHB" userId="db6a954d-bec4-4db4-9caf-05e7b37f6917" providerId="ADAL" clId="{3C533B8D-DF44-409D-94A0-AEE6D5C3E5F3}" dt="2024-01-22T07:54:54.415" v="304" actId="2711"/>
          <ac:spMkLst>
            <pc:docMk/>
            <pc:sldMk cId="3913064372" sldId="2086"/>
            <ac:spMk id="2" creationId="{38C7DF0D-CF3D-BC6E-2657-3E6DE238EA93}"/>
          </ac:spMkLst>
        </pc:spChg>
        <pc:spChg chg="mod">
          <ac:chgData name="Chadwin Pylman   Transnet Property   JHB" userId="db6a954d-bec4-4db4-9caf-05e7b37f6917" providerId="ADAL" clId="{3C533B8D-DF44-409D-94A0-AEE6D5C3E5F3}" dt="2024-01-22T07:54:50.591" v="303" actId="404"/>
          <ac:spMkLst>
            <pc:docMk/>
            <pc:sldMk cId="3913064372" sldId="2086"/>
            <ac:spMk id="19" creationId="{5A7DDE8A-B245-7F8D-DA6F-32478A5A14BA}"/>
          </ac:spMkLst>
        </pc:spChg>
        <pc:graphicFrameChg chg="mod modGraphic">
          <ac:chgData name="Chadwin Pylman   Transnet Property   JHB" userId="db6a954d-bec4-4db4-9caf-05e7b37f6917" providerId="ADAL" clId="{3C533B8D-DF44-409D-94A0-AEE6D5C3E5F3}" dt="2024-01-22T07:58:23.609" v="356" actId="113"/>
          <ac:graphicFrameMkLst>
            <pc:docMk/>
            <pc:sldMk cId="3913064372" sldId="2086"/>
            <ac:graphicFrameMk id="4" creationId="{2BF25635-AB30-E6D9-1997-3B702CE9C542}"/>
          </ac:graphicFrameMkLst>
        </pc:graphicFrameChg>
      </pc:sldChg>
      <pc:sldChg chg="modSp del mod">
        <pc:chgData name="Chadwin Pylman   Transnet Property   JHB" userId="db6a954d-bec4-4db4-9caf-05e7b37f6917" providerId="ADAL" clId="{3C533B8D-DF44-409D-94A0-AEE6D5C3E5F3}" dt="2024-01-22T08:00:34.212" v="378" actId="47"/>
        <pc:sldMkLst>
          <pc:docMk/>
          <pc:sldMk cId="1850526330" sldId="2087"/>
        </pc:sldMkLst>
        <pc:spChg chg="mod">
          <ac:chgData name="Chadwin Pylman   Transnet Property   JHB" userId="db6a954d-bec4-4db4-9caf-05e7b37f6917" providerId="ADAL" clId="{3C533B8D-DF44-409D-94A0-AEE6D5C3E5F3}" dt="2024-01-22T07:58:00.219" v="354" actId="2711"/>
          <ac:spMkLst>
            <pc:docMk/>
            <pc:sldMk cId="1850526330" sldId="2087"/>
            <ac:spMk id="2" creationId="{38C7DF0D-CF3D-BC6E-2657-3E6DE238EA93}"/>
          </ac:spMkLst>
        </pc:spChg>
        <pc:spChg chg="mod">
          <ac:chgData name="Chadwin Pylman   Transnet Property   JHB" userId="db6a954d-bec4-4db4-9caf-05e7b37f6917" providerId="ADAL" clId="{3C533B8D-DF44-409D-94A0-AEE6D5C3E5F3}" dt="2024-01-22T07:57:57.341" v="353" actId="404"/>
          <ac:spMkLst>
            <pc:docMk/>
            <pc:sldMk cId="1850526330" sldId="2087"/>
            <ac:spMk id="19" creationId="{5A7DDE8A-B245-7F8D-DA6F-32478A5A14BA}"/>
          </ac:spMkLst>
        </pc:spChg>
        <pc:graphicFrameChg chg="mod modGraphic">
          <ac:chgData name="Chadwin Pylman   Transnet Property   JHB" userId="db6a954d-bec4-4db4-9caf-05e7b37f6917" providerId="ADAL" clId="{3C533B8D-DF44-409D-94A0-AEE6D5C3E5F3}" dt="2024-01-22T07:56:55.118" v="336" actId="113"/>
          <ac:graphicFrameMkLst>
            <pc:docMk/>
            <pc:sldMk cId="1850526330" sldId="2087"/>
            <ac:graphicFrameMk id="5" creationId="{7047877A-274B-5C72-583E-6D613C07CB29}"/>
          </ac:graphicFrameMkLst>
        </pc:graphicFrameChg>
      </pc:sldChg>
      <pc:sldChg chg="modSp del mod">
        <pc:chgData name="Chadwin Pylman   Transnet Property   JHB" userId="db6a954d-bec4-4db4-9caf-05e7b37f6917" providerId="ADAL" clId="{3C533B8D-DF44-409D-94A0-AEE6D5C3E5F3}" dt="2024-01-22T08:00:37.212" v="379" actId="47"/>
        <pc:sldMkLst>
          <pc:docMk/>
          <pc:sldMk cId="1376267717" sldId="2089"/>
        </pc:sldMkLst>
        <pc:spChg chg="mod">
          <ac:chgData name="Chadwin Pylman   Transnet Property   JHB" userId="db6a954d-bec4-4db4-9caf-05e7b37f6917" providerId="ADAL" clId="{3C533B8D-DF44-409D-94A0-AEE6D5C3E5F3}" dt="2024-01-22T07:57:52.266" v="351" actId="2711"/>
          <ac:spMkLst>
            <pc:docMk/>
            <pc:sldMk cId="1376267717" sldId="2089"/>
            <ac:spMk id="2" creationId="{38C7DF0D-CF3D-BC6E-2657-3E6DE238EA93}"/>
          </ac:spMkLst>
        </pc:spChg>
        <pc:spChg chg="mod">
          <ac:chgData name="Chadwin Pylman   Transnet Property   JHB" userId="db6a954d-bec4-4db4-9caf-05e7b37f6917" providerId="ADAL" clId="{3C533B8D-DF44-409D-94A0-AEE6D5C3E5F3}" dt="2024-01-22T07:57:49.477" v="350" actId="403"/>
          <ac:spMkLst>
            <pc:docMk/>
            <pc:sldMk cId="1376267717" sldId="2089"/>
            <ac:spMk id="19" creationId="{5A7DDE8A-B245-7F8D-DA6F-32478A5A14BA}"/>
          </ac:spMkLst>
        </pc:spChg>
        <pc:graphicFrameChg chg="mod modGraphic">
          <ac:chgData name="Chadwin Pylman   Transnet Property   JHB" userId="db6a954d-bec4-4db4-9caf-05e7b37f6917" providerId="ADAL" clId="{3C533B8D-DF44-409D-94A0-AEE6D5C3E5F3}" dt="2024-01-22T07:59:17.052" v="367" actId="14734"/>
          <ac:graphicFrameMkLst>
            <pc:docMk/>
            <pc:sldMk cId="1376267717" sldId="2089"/>
            <ac:graphicFrameMk id="7" creationId="{735527B9-04FA-FBBD-16DF-2F2D72C2DBC4}"/>
          </ac:graphicFrameMkLst>
        </pc:graphicFrameChg>
      </pc:sldChg>
      <pc:sldChg chg="modSp mod">
        <pc:chgData name="Chadwin Pylman   Transnet Property   JHB" userId="db6a954d-bec4-4db4-9caf-05e7b37f6917" providerId="ADAL" clId="{3C533B8D-DF44-409D-94A0-AEE6D5C3E5F3}" dt="2024-01-22T08:19:08.873" v="549" actId="1037"/>
        <pc:sldMkLst>
          <pc:docMk/>
          <pc:sldMk cId="2253321967" sldId="2092"/>
        </pc:sldMkLst>
        <pc:spChg chg="mod">
          <ac:chgData name="Chadwin Pylman   Transnet Property   JHB" userId="db6a954d-bec4-4db4-9caf-05e7b37f6917" providerId="ADAL" clId="{3C533B8D-DF44-409D-94A0-AEE6D5C3E5F3}" dt="2024-01-22T07:46:03.974" v="79" actId="2711"/>
          <ac:spMkLst>
            <pc:docMk/>
            <pc:sldMk cId="2253321967" sldId="2092"/>
            <ac:spMk id="2" creationId="{38C7DF0D-CF3D-BC6E-2657-3E6DE238EA93}"/>
          </ac:spMkLst>
        </pc:spChg>
        <pc:spChg chg="mod">
          <ac:chgData name="Chadwin Pylman   Transnet Property   JHB" userId="db6a954d-bec4-4db4-9caf-05e7b37f6917" providerId="ADAL" clId="{3C533B8D-DF44-409D-94A0-AEE6D5C3E5F3}" dt="2024-01-22T07:46:16.411" v="83" actId="255"/>
          <ac:spMkLst>
            <pc:docMk/>
            <pc:sldMk cId="2253321967" sldId="2092"/>
            <ac:spMk id="7" creationId="{81B0B3C5-F282-4C82-936E-92EC3B1C40C6}"/>
          </ac:spMkLst>
        </pc:spChg>
        <pc:spChg chg="mod">
          <ac:chgData name="Chadwin Pylman   Transnet Property   JHB" userId="db6a954d-bec4-4db4-9caf-05e7b37f6917" providerId="ADAL" clId="{3C533B8D-DF44-409D-94A0-AEE6D5C3E5F3}" dt="2024-01-22T07:46:00.782" v="78" actId="404"/>
          <ac:spMkLst>
            <pc:docMk/>
            <pc:sldMk cId="2253321967" sldId="2092"/>
            <ac:spMk id="19" creationId="{5A7DDE8A-B245-7F8D-DA6F-32478A5A14BA}"/>
          </ac:spMkLst>
        </pc:spChg>
        <pc:spChg chg="mod">
          <ac:chgData name="Chadwin Pylman   Transnet Property   JHB" userId="db6a954d-bec4-4db4-9caf-05e7b37f6917" providerId="ADAL" clId="{3C533B8D-DF44-409D-94A0-AEE6D5C3E5F3}" dt="2024-01-22T08:19:08.873" v="549" actId="1037"/>
          <ac:spMkLst>
            <pc:docMk/>
            <pc:sldMk cId="2253321967" sldId="2092"/>
            <ac:spMk id="21" creationId="{1CDF850A-2CE4-F074-E066-4AD2901D795A}"/>
          </ac:spMkLst>
        </pc:spChg>
        <pc:picChg chg="mod">
          <ac:chgData name="Chadwin Pylman   Transnet Property   JHB" userId="db6a954d-bec4-4db4-9caf-05e7b37f6917" providerId="ADAL" clId="{3C533B8D-DF44-409D-94A0-AEE6D5C3E5F3}" dt="2024-01-22T07:46:19.615" v="84"/>
          <ac:picMkLst>
            <pc:docMk/>
            <pc:sldMk cId="2253321967" sldId="2092"/>
            <ac:picMk id="4" creationId="{696897E3-B3BC-7C2D-115A-2834FA2BCAF7}"/>
          </ac:picMkLst>
        </pc:picChg>
      </pc:sldChg>
      <pc:sldChg chg="modSp mod">
        <pc:chgData name="Chadwin Pylman   Transnet Property   JHB" userId="db6a954d-bec4-4db4-9caf-05e7b37f6917" providerId="ADAL" clId="{3C533B8D-DF44-409D-94A0-AEE6D5C3E5F3}" dt="2024-01-22T08:29:10.920" v="702" actId="1036"/>
        <pc:sldMkLst>
          <pc:docMk/>
          <pc:sldMk cId="4170204537" sldId="2095"/>
        </pc:sldMkLst>
        <pc:spChg chg="mod">
          <ac:chgData name="Chadwin Pylman   Transnet Property   JHB" userId="db6a954d-bec4-4db4-9caf-05e7b37f6917" providerId="ADAL" clId="{3C533B8D-DF44-409D-94A0-AEE6D5C3E5F3}" dt="2024-01-22T07:48:20.799" v="131" actId="2711"/>
          <ac:spMkLst>
            <pc:docMk/>
            <pc:sldMk cId="4170204537" sldId="2095"/>
            <ac:spMk id="2" creationId="{38C7DF0D-CF3D-BC6E-2657-3E6DE238EA93}"/>
          </ac:spMkLst>
        </pc:spChg>
        <pc:spChg chg="mod">
          <ac:chgData name="Chadwin Pylman   Transnet Property   JHB" userId="db6a954d-bec4-4db4-9caf-05e7b37f6917" providerId="ADAL" clId="{3C533B8D-DF44-409D-94A0-AEE6D5C3E5F3}" dt="2024-01-22T07:48:32.104" v="135" actId="404"/>
          <ac:spMkLst>
            <pc:docMk/>
            <pc:sldMk cId="4170204537" sldId="2095"/>
            <ac:spMk id="10" creationId="{471A73B1-B7FC-8563-4E85-9B157A66892C}"/>
          </ac:spMkLst>
        </pc:spChg>
        <pc:spChg chg="mod">
          <ac:chgData name="Chadwin Pylman   Transnet Property   JHB" userId="db6a954d-bec4-4db4-9caf-05e7b37f6917" providerId="ADAL" clId="{3C533B8D-DF44-409D-94A0-AEE6D5C3E5F3}" dt="2024-01-22T07:49:04.060" v="153" actId="1076"/>
          <ac:spMkLst>
            <pc:docMk/>
            <pc:sldMk cId="4170204537" sldId="2095"/>
            <ac:spMk id="11" creationId="{501C027C-5D47-FDE7-9C25-6710A009EB67}"/>
          </ac:spMkLst>
        </pc:spChg>
        <pc:spChg chg="mod">
          <ac:chgData name="Chadwin Pylman   Transnet Property   JHB" userId="db6a954d-bec4-4db4-9caf-05e7b37f6917" providerId="ADAL" clId="{3C533B8D-DF44-409D-94A0-AEE6D5C3E5F3}" dt="2024-01-22T07:48:17.142" v="130" actId="404"/>
          <ac:spMkLst>
            <pc:docMk/>
            <pc:sldMk cId="4170204537" sldId="2095"/>
            <ac:spMk id="19" creationId="{5A7DDE8A-B245-7F8D-DA6F-32478A5A14BA}"/>
          </ac:spMkLst>
        </pc:spChg>
        <pc:picChg chg="mod">
          <ac:chgData name="Chadwin Pylman   Transnet Property   JHB" userId="db6a954d-bec4-4db4-9caf-05e7b37f6917" providerId="ADAL" clId="{3C533B8D-DF44-409D-94A0-AEE6D5C3E5F3}" dt="2024-01-22T08:20:15.428" v="568"/>
          <ac:picMkLst>
            <pc:docMk/>
            <pc:sldMk cId="4170204537" sldId="2095"/>
            <ac:picMk id="4" creationId="{10C0C2B1-0A30-AAA3-CE85-02C3D42750E9}"/>
          </ac:picMkLst>
        </pc:picChg>
        <pc:picChg chg="mod">
          <ac:chgData name="Chadwin Pylman   Transnet Property   JHB" userId="db6a954d-bec4-4db4-9caf-05e7b37f6917" providerId="ADAL" clId="{3C533B8D-DF44-409D-94A0-AEE6D5C3E5F3}" dt="2024-01-22T08:29:10.920" v="702" actId="1036"/>
          <ac:picMkLst>
            <pc:docMk/>
            <pc:sldMk cId="4170204537" sldId="2095"/>
            <ac:picMk id="7" creationId="{CF9C22AD-FE04-CB93-36EE-34367D1D99C7}"/>
          </ac:picMkLst>
        </pc:picChg>
        <pc:picChg chg="mod">
          <ac:chgData name="Chadwin Pylman   Transnet Property   JHB" userId="db6a954d-bec4-4db4-9caf-05e7b37f6917" providerId="ADAL" clId="{3C533B8D-DF44-409D-94A0-AEE6D5C3E5F3}" dt="2024-01-22T07:49:00.724" v="152" actId="1076"/>
          <ac:picMkLst>
            <pc:docMk/>
            <pc:sldMk cId="4170204537" sldId="2095"/>
            <ac:picMk id="9" creationId="{921EA5A7-F48B-4A46-FC68-6E42A5399D47}"/>
          </ac:picMkLst>
        </pc:picChg>
      </pc:sldChg>
      <pc:sldChg chg="modSp mod">
        <pc:chgData name="Chadwin Pylman   Transnet Property   JHB" userId="db6a954d-bec4-4db4-9caf-05e7b37f6917" providerId="ADAL" clId="{3C533B8D-DF44-409D-94A0-AEE6D5C3E5F3}" dt="2024-01-22T08:29:59.356" v="715" actId="14100"/>
        <pc:sldMkLst>
          <pc:docMk/>
          <pc:sldMk cId="1725775553" sldId="2096"/>
        </pc:sldMkLst>
        <pc:spChg chg="mod">
          <ac:chgData name="Chadwin Pylman   Transnet Property   JHB" userId="db6a954d-bec4-4db4-9caf-05e7b37f6917" providerId="ADAL" clId="{3C533B8D-DF44-409D-94A0-AEE6D5C3E5F3}" dt="2024-01-22T07:48:42.336" v="138" actId="2711"/>
          <ac:spMkLst>
            <pc:docMk/>
            <pc:sldMk cId="1725775553" sldId="2096"/>
            <ac:spMk id="2" creationId="{38C7DF0D-CF3D-BC6E-2657-3E6DE238EA93}"/>
          </ac:spMkLst>
        </pc:spChg>
        <pc:spChg chg="mod">
          <ac:chgData name="Chadwin Pylman   Transnet Property   JHB" userId="db6a954d-bec4-4db4-9caf-05e7b37f6917" providerId="ADAL" clId="{3C533B8D-DF44-409D-94A0-AEE6D5C3E5F3}" dt="2024-01-22T08:29:59.356" v="715" actId="14100"/>
          <ac:spMkLst>
            <pc:docMk/>
            <pc:sldMk cId="1725775553" sldId="2096"/>
            <ac:spMk id="9" creationId="{CEE8C23A-9ACA-8447-1578-B7341E3911BB}"/>
          </ac:spMkLst>
        </pc:spChg>
        <pc:spChg chg="mod">
          <ac:chgData name="Chadwin Pylman   Transnet Property   JHB" userId="db6a954d-bec4-4db4-9caf-05e7b37f6917" providerId="ADAL" clId="{3C533B8D-DF44-409D-94A0-AEE6D5C3E5F3}" dt="2024-01-22T07:49:30.221" v="177" actId="1076"/>
          <ac:spMkLst>
            <pc:docMk/>
            <pc:sldMk cId="1725775553" sldId="2096"/>
            <ac:spMk id="10" creationId="{17FA7880-FF31-DA5F-B85E-4CD1F74C005A}"/>
          </ac:spMkLst>
        </pc:spChg>
        <pc:spChg chg="mod">
          <ac:chgData name="Chadwin Pylman   Transnet Property   JHB" userId="db6a954d-bec4-4db4-9caf-05e7b37f6917" providerId="ADAL" clId="{3C533B8D-DF44-409D-94A0-AEE6D5C3E5F3}" dt="2024-01-22T07:48:39.429" v="137" actId="404"/>
          <ac:spMkLst>
            <pc:docMk/>
            <pc:sldMk cId="1725775553" sldId="2096"/>
            <ac:spMk id="19" creationId="{5A7DDE8A-B245-7F8D-DA6F-32478A5A14BA}"/>
          </ac:spMkLst>
        </pc:spChg>
        <pc:picChg chg="mod">
          <ac:chgData name="Chadwin Pylman   Transnet Property   JHB" userId="db6a954d-bec4-4db4-9caf-05e7b37f6917" providerId="ADAL" clId="{3C533B8D-DF44-409D-94A0-AEE6D5C3E5F3}" dt="2024-01-22T08:20:20.940" v="569"/>
          <ac:picMkLst>
            <pc:docMk/>
            <pc:sldMk cId="1725775553" sldId="2096"/>
            <ac:picMk id="4" creationId="{10C0C2B1-0A30-AAA3-CE85-02C3D42750E9}"/>
          </ac:picMkLst>
        </pc:picChg>
        <pc:picChg chg="mod">
          <ac:chgData name="Chadwin Pylman   Transnet Property   JHB" userId="db6a954d-bec4-4db4-9caf-05e7b37f6917" providerId="ADAL" clId="{3C533B8D-DF44-409D-94A0-AEE6D5C3E5F3}" dt="2024-01-22T08:29:32.570" v="708" actId="1036"/>
          <ac:picMkLst>
            <pc:docMk/>
            <pc:sldMk cId="1725775553" sldId="2096"/>
            <ac:picMk id="5" creationId="{EDB345F5-89FF-64B0-1056-EECE4955F33B}"/>
          </ac:picMkLst>
        </pc:picChg>
        <pc:picChg chg="mod">
          <ac:chgData name="Chadwin Pylman   Transnet Property   JHB" userId="db6a954d-bec4-4db4-9caf-05e7b37f6917" providerId="ADAL" clId="{3C533B8D-DF44-409D-94A0-AEE6D5C3E5F3}" dt="2024-01-22T07:49:23.536" v="161" actId="1036"/>
          <ac:picMkLst>
            <pc:docMk/>
            <pc:sldMk cId="1725775553" sldId="2096"/>
            <ac:picMk id="7" creationId="{CF9C22AD-FE04-CB93-36EE-34367D1D99C7}"/>
          </ac:picMkLst>
        </pc:picChg>
      </pc:sldChg>
      <pc:sldChg chg="modSp mod">
        <pc:chgData name="Chadwin Pylman   Transnet Property   JHB" userId="db6a954d-bec4-4db4-9caf-05e7b37f6917" providerId="ADAL" clId="{3C533B8D-DF44-409D-94A0-AEE6D5C3E5F3}" dt="2024-01-22T08:29:48.908" v="714" actId="14100"/>
        <pc:sldMkLst>
          <pc:docMk/>
          <pc:sldMk cId="2424566592" sldId="2097"/>
        </pc:sldMkLst>
        <pc:spChg chg="mod">
          <ac:chgData name="Chadwin Pylman   Transnet Property   JHB" userId="db6a954d-bec4-4db4-9caf-05e7b37f6917" providerId="ADAL" clId="{3C533B8D-DF44-409D-94A0-AEE6D5C3E5F3}" dt="2024-01-22T07:49:51.456" v="184" actId="2711"/>
          <ac:spMkLst>
            <pc:docMk/>
            <pc:sldMk cId="2424566592" sldId="2097"/>
            <ac:spMk id="2" creationId="{38C7DF0D-CF3D-BC6E-2657-3E6DE238EA93}"/>
          </ac:spMkLst>
        </pc:spChg>
        <pc:spChg chg="mod">
          <ac:chgData name="Chadwin Pylman   Transnet Property   JHB" userId="db6a954d-bec4-4db4-9caf-05e7b37f6917" providerId="ADAL" clId="{3C533B8D-DF44-409D-94A0-AEE6D5C3E5F3}" dt="2024-01-22T08:29:48.908" v="714" actId="14100"/>
          <ac:spMkLst>
            <pc:docMk/>
            <pc:sldMk cId="2424566592" sldId="2097"/>
            <ac:spMk id="9" creationId="{C522FEBE-4B00-D5CE-67D3-1BAAD5A0340E}"/>
          </ac:spMkLst>
        </pc:spChg>
        <pc:spChg chg="mod">
          <ac:chgData name="Chadwin Pylman   Transnet Property   JHB" userId="db6a954d-bec4-4db4-9caf-05e7b37f6917" providerId="ADAL" clId="{3C533B8D-DF44-409D-94A0-AEE6D5C3E5F3}" dt="2024-01-22T08:29:43.428" v="713" actId="1076"/>
          <ac:spMkLst>
            <pc:docMk/>
            <pc:sldMk cId="2424566592" sldId="2097"/>
            <ac:spMk id="10" creationId="{0722B39F-65C2-4C05-CB42-F309A2170A39}"/>
          </ac:spMkLst>
        </pc:spChg>
        <pc:spChg chg="mod">
          <ac:chgData name="Chadwin Pylman   Transnet Property   JHB" userId="db6a954d-bec4-4db4-9caf-05e7b37f6917" providerId="ADAL" clId="{3C533B8D-DF44-409D-94A0-AEE6D5C3E5F3}" dt="2024-01-22T07:49:48.088" v="183" actId="404"/>
          <ac:spMkLst>
            <pc:docMk/>
            <pc:sldMk cId="2424566592" sldId="2097"/>
            <ac:spMk id="19" creationId="{5A7DDE8A-B245-7F8D-DA6F-32478A5A14BA}"/>
          </ac:spMkLst>
        </pc:spChg>
        <pc:picChg chg="mod">
          <ac:chgData name="Chadwin Pylman   Transnet Property   JHB" userId="db6a954d-bec4-4db4-9caf-05e7b37f6917" providerId="ADAL" clId="{3C533B8D-DF44-409D-94A0-AEE6D5C3E5F3}" dt="2024-01-22T08:20:24.772" v="570"/>
          <ac:picMkLst>
            <pc:docMk/>
            <pc:sldMk cId="2424566592" sldId="2097"/>
            <ac:picMk id="4" creationId="{10C0C2B1-0A30-AAA3-CE85-02C3D42750E9}"/>
          </ac:picMkLst>
        </pc:picChg>
        <pc:picChg chg="mod">
          <ac:chgData name="Chadwin Pylman   Transnet Property   JHB" userId="db6a954d-bec4-4db4-9caf-05e7b37f6917" providerId="ADAL" clId="{3C533B8D-DF44-409D-94A0-AEE6D5C3E5F3}" dt="2024-01-22T08:29:37.395" v="711" actId="1038"/>
          <ac:picMkLst>
            <pc:docMk/>
            <pc:sldMk cId="2424566592" sldId="2097"/>
            <ac:picMk id="5" creationId="{046D01E1-30C6-5D98-B48D-E739BC313C52}"/>
          </ac:picMkLst>
        </pc:picChg>
        <pc:picChg chg="mod">
          <ac:chgData name="Chadwin Pylman   Transnet Property   JHB" userId="db6a954d-bec4-4db4-9caf-05e7b37f6917" providerId="ADAL" clId="{3C533B8D-DF44-409D-94A0-AEE6D5C3E5F3}" dt="2024-01-22T08:29:20.948" v="704" actId="14100"/>
          <ac:picMkLst>
            <pc:docMk/>
            <pc:sldMk cId="2424566592" sldId="2097"/>
            <ac:picMk id="7" creationId="{CF9C22AD-FE04-CB93-36EE-34367D1D99C7}"/>
          </ac:picMkLst>
        </pc:picChg>
      </pc:sldChg>
      <pc:sldChg chg="modSp mod">
        <pc:chgData name="Chadwin Pylman   Transnet Property   JHB" userId="db6a954d-bec4-4db4-9caf-05e7b37f6917" providerId="ADAL" clId="{3C533B8D-DF44-409D-94A0-AEE6D5C3E5F3}" dt="2024-01-22T08:24:45.966" v="640" actId="120"/>
        <pc:sldMkLst>
          <pc:docMk/>
          <pc:sldMk cId="2337959193" sldId="2098"/>
        </pc:sldMkLst>
        <pc:spChg chg="mod">
          <ac:chgData name="Chadwin Pylman   Transnet Property   JHB" userId="db6a954d-bec4-4db4-9caf-05e7b37f6917" providerId="ADAL" clId="{3C533B8D-DF44-409D-94A0-AEE6D5C3E5F3}" dt="2024-01-22T08:05:16.160" v="430" actId="2711"/>
          <ac:spMkLst>
            <pc:docMk/>
            <pc:sldMk cId="2337959193" sldId="2098"/>
            <ac:spMk id="2" creationId="{29EBE23C-CABB-8709-B778-BF4488EC35A9}"/>
          </ac:spMkLst>
        </pc:spChg>
        <pc:spChg chg="mod">
          <ac:chgData name="Chadwin Pylman   Transnet Property   JHB" userId="db6a954d-bec4-4db4-9caf-05e7b37f6917" providerId="ADAL" clId="{3C533B8D-DF44-409D-94A0-AEE6D5C3E5F3}" dt="2024-01-22T08:05:36.736" v="435" actId="2711"/>
          <ac:spMkLst>
            <pc:docMk/>
            <pc:sldMk cId="2337959193" sldId="2098"/>
            <ac:spMk id="19" creationId="{0865A873-1F93-B640-BBAF-CB7431F54AF0}"/>
          </ac:spMkLst>
        </pc:spChg>
        <pc:graphicFrameChg chg="mod modGraphic">
          <ac:chgData name="Chadwin Pylman   Transnet Property   JHB" userId="db6a954d-bec4-4db4-9caf-05e7b37f6917" providerId="ADAL" clId="{3C533B8D-DF44-409D-94A0-AEE6D5C3E5F3}" dt="2024-01-22T08:16:02.155" v="508" actId="14734"/>
          <ac:graphicFrameMkLst>
            <pc:docMk/>
            <pc:sldMk cId="2337959193" sldId="2098"/>
            <ac:graphicFrameMk id="3" creationId="{272D4512-1883-7835-F73D-79E5DF1D3636}"/>
          </ac:graphicFrameMkLst>
        </pc:graphicFrameChg>
        <pc:graphicFrameChg chg="mod modGraphic">
          <ac:chgData name="Chadwin Pylman   Transnet Property   JHB" userId="db6a954d-bec4-4db4-9caf-05e7b37f6917" providerId="ADAL" clId="{3C533B8D-DF44-409D-94A0-AEE6D5C3E5F3}" dt="2024-01-22T08:24:45.966" v="640" actId="120"/>
          <ac:graphicFrameMkLst>
            <pc:docMk/>
            <pc:sldMk cId="2337959193" sldId="2098"/>
            <ac:graphicFrameMk id="6" creationId="{DC5BAAB3-CE2E-8664-4479-2CA6C952B64D}"/>
          </ac:graphicFrameMkLst>
        </pc:graphicFrameChg>
      </pc:sldChg>
      <pc:sldChg chg="modSp mod">
        <pc:chgData name="Chadwin Pylman   Transnet Property   JHB" userId="db6a954d-bec4-4db4-9caf-05e7b37f6917" providerId="ADAL" clId="{3C533B8D-DF44-409D-94A0-AEE6D5C3E5F3}" dt="2024-01-22T08:15:15.966" v="502" actId="207"/>
        <pc:sldMkLst>
          <pc:docMk/>
          <pc:sldMk cId="2858778564" sldId="2099"/>
        </pc:sldMkLst>
        <pc:spChg chg="mod">
          <ac:chgData name="Chadwin Pylman   Transnet Property   JHB" userId="db6a954d-bec4-4db4-9caf-05e7b37f6917" providerId="ADAL" clId="{3C533B8D-DF44-409D-94A0-AEE6D5C3E5F3}" dt="2024-01-22T08:05:45.399" v="438" actId="2711"/>
          <ac:spMkLst>
            <pc:docMk/>
            <pc:sldMk cId="2858778564" sldId="2099"/>
            <ac:spMk id="2" creationId="{29EBE23C-CABB-8709-B778-BF4488EC35A9}"/>
          </ac:spMkLst>
        </pc:spChg>
        <pc:spChg chg="mod">
          <ac:chgData name="Chadwin Pylman   Transnet Property   JHB" userId="db6a954d-bec4-4db4-9caf-05e7b37f6917" providerId="ADAL" clId="{3C533B8D-DF44-409D-94A0-AEE6D5C3E5F3}" dt="2024-01-22T08:05:42.647" v="437" actId="404"/>
          <ac:spMkLst>
            <pc:docMk/>
            <pc:sldMk cId="2858778564" sldId="2099"/>
            <ac:spMk id="19" creationId="{0865A873-1F93-B640-BBAF-CB7431F54AF0}"/>
          </ac:spMkLst>
        </pc:spChg>
        <pc:graphicFrameChg chg="mod modGraphic">
          <ac:chgData name="Chadwin Pylman   Transnet Property   JHB" userId="db6a954d-bec4-4db4-9caf-05e7b37f6917" providerId="ADAL" clId="{3C533B8D-DF44-409D-94A0-AEE6D5C3E5F3}" dt="2024-01-22T08:15:15.966" v="502" actId="207"/>
          <ac:graphicFrameMkLst>
            <pc:docMk/>
            <pc:sldMk cId="2858778564" sldId="2099"/>
            <ac:graphicFrameMk id="6" creationId="{DC5BAAB3-CE2E-8664-4479-2CA6C952B64D}"/>
          </ac:graphicFrameMkLst>
        </pc:graphicFrameChg>
      </pc:sldChg>
      <pc:sldChg chg="modSp mod">
        <pc:chgData name="Chadwin Pylman   Transnet Property   JHB" userId="db6a954d-bec4-4db4-9caf-05e7b37f6917" providerId="ADAL" clId="{3C533B8D-DF44-409D-94A0-AEE6D5C3E5F3}" dt="2024-01-22T08:30:59.327" v="717" actId="20577"/>
        <pc:sldMkLst>
          <pc:docMk/>
          <pc:sldMk cId="4019878373" sldId="2100"/>
        </pc:sldMkLst>
        <pc:spChg chg="mod">
          <ac:chgData name="Chadwin Pylman   Transnet Property   JHB" userId="db6a954d-bec4-4db4-9caf-05e7b37f6917" providerId="ADAL" clId="{3C533B8D-DF44-409D-94A0-AEE6D5C3E5F3}" dt="2024-01-22T08:03:39.487" v="405" actId="2711"/>
          <ac:spMkLst>
            <pc:docMk/>
            <pc:sldMk cId="4019878373" sldId="2100"/>
            <ac:spMk id="2" creationId="{29EBE23C-CABB-8709-B778-BF4488EC35A9}"/>
          </ac:spMkLst>
        </pc:spChg>
        <pc:spChg chg="mod">
          <ac:chgData name="Chadwin Pylman   Transnet Property   JHB" userId="db6a954d-bec4-4db4-9caf-05e7b37f6917" providerId="ADAL" clId="{3C533B8D-DF44-409D-94A0-AEE6D5C3E5F3}" dt="2024-01-22T08:03:35.910" v="404" actId="404"/>
          <ac:spMkLst>
            <pc:docMk/>
            <pc:sldMk cId="4019878373" sldId="2100"/>
            <ac:spMk id="19" creationId="{0865A873-1F93-B640-BBAF-CB7431F54AF0}"/>
          </ac:spMkLst>
        </pc:spChg>
        <pc:graphicFrameChg chg="mod modGraphic">
          <ac:chgData name="Chadwin Pylman   Transnet Property   JHB" userId="db6a954d-bec4-4db4-9caf-05e7b37f6917" providerId="ADAL" clId="{3C533B8D-DF44-409D-94A0-AEE6D5C3E5F3}" dt="2024-01-22T08:30:59.327" v="717" actId="20577"/>
          <ac:graphicFrameMkLst>
            <pc:docMk/>
            <pc:sldMk cId="4019878373" sldId="2100"/>
            <ac:graphicFrameMk id="6" creationId="{DC5BAAB3-CE2E-8664-4479-2CA6C952B64D}"/>
          </ac:graphicFrameMkLst>
        </pc:graphicFrameChg>
      </pc:sldChg>
      <pc:sldChg chg="modSp mod">
        <pc:chgData name="Chadwin Pylman   Transnet Property   JHB" userId="db6a954d-bec4-4db4-9caf-05e7b37f6917" providerId="ADAL" clId="{3C533B8D-DF44-409D-94A0-AEE6D5C3E5F3}" dt="2024-01-22T08:25:11.316" v="649" actId="179"/>
        <pc:sldMkLst>
          <pc:docMk/>
          <pc:sldMk cId="4273976434" sldId="2101"/>
        </pc:sldMkLst>
        <pc:spChg chg="mod">
          <ac:chgData name="Chadwin Pylman   Transnet Property   JHB" userId="db6a954d-bec4-4db4-9caf-05e7b37f6917" providerId="ADAL" clId="{3C533B8D-DF44-409D-94A0-AEE6D5C3E5F3}" dt="2024-01-22T08:03:00.826" v="396" actId="2711"/>
          <ac:spMkLst>
            <pc:docMk/>
            <pc:sldMk cId="4273976434" sldId="2101"/>
            <ac:spMk id="2" creationId="{29EBE23C-CABB-8709-B778-BF4488EC35A9}"/>
          </ac:spMkLst>
        </pc:spChg>
        <pc:spChg chg="mod">
          <ac:chgData name="Chadwin Pylman   Transnet Property   JHB" userId="db6a954d-bec4-4db4-9caf-05e7b37f6917" providerId="ADAL" clId="{3C533B8D-DF44-409D-94A0-AEE6D5C3E5F3}" dt="2024-01-22T08:02:57.805" v="395" actId="404"/>
          <ac:spMkLst>
            <pc:docMk/>
            <pc:sldMk cId="4273976434" sldId="2101"/>
            <ac:spMk id="19" creationId="{0865A873-1F93-B640-BBAF-CB7431F54AF0}"/>
          </ac:spMkLst>
        </pc:spChg>
        <pc:graphicFrameChg chg="mod modGraphic">
          <ac:chgData name="Chadwin Pylman   Transnet Property   JHB" userId="db6a954d-bec4-4db4-9caf-05e7b37f6917" providerId="ADAL" clId="{3C533B8D-DF44-409D-94A0-AEE6D5C3E5F3}" dt="2024-01-22T08:25:11.316" v="649" actId="179"/>
          <ac:graphicFrameMkLst>
            <pc:docMk/>
            <pc:sldMk cId="4273976434" sldId="2101"/>
            <ac:graphicFrameMk id="6" creationId="{DC5BAAB3-CE2E-8664-4479-2CA6C952B64D}"/>
          </ac:graphicFrameMkLst>
        </pc:graphicFrameChg>
      </pc:sldChg>
      <pc:sldChg chg="modSp mod">
        <pc:chgData name="Chadwin Pylman   Transnet Property   JHB" userId="db6a954d-bec4-4db4-9caf-05e7b37f6917" providerId="ADAL" clId="{3C533B8D-DF44-409D-94A0-AEE6D5C3E5F3}" dt="2024-01-22T08:24:05.646" v="637" actId="122"/>
        <pc:sldMkLst>
          <pc:docMk/>
          <pc:sldMk cId="3828851222" sldId="2102"/>
        </pc:sldMkLst>
        <pc:spChg chg="mod">
          <ac:chgData name="Chadwin Pylman   Transnet Property   JHB" userId="db6a954d-bec4-4db4-9caf-05e7b37f6917" providerId="ADAL" clId="{3C533B8D-DF44-409D-94A0-AEE6D5C3E5F3}" dt="2024-01-22T08:01:59.791" v="390" actId="2711"/>
          <ac:spMkLst>
            <pc:docMk/>
            <pc:sldMk cId="3828851222" sldId="2102"/>
            <ac:spMk id="2" creationId="{8BB84398-0A80-386F-3090-3BF89D9B8FF4}"/>
          </ac:spMkLst>
        </pc:spChg>
        <pc:spChg chg="mod">
          <ac:chgData name="Chadwin Pylman   Transnet Property   JHB" userId="db6a954d-bec4-4db4-9caf-05e7b37f6917" providerId="ADAL" clId="{3C533B8D-DF44-409D-94A0-AEE6D5C3E5F3}" dt="2024-01-22T08:01:54.949" v="389" actId="404"/>
          <ac:spMkLst>
            <pc:docMk/>
            <pc:sldMk cId="3828851222" sldId="2102"/>
            <ac:spMk id="19" creationId="{DA01149D-3F9B-4812-D912-A070954054F9}"/>
          </ac:spMkLst>
        </pc:spChg>
        <pc:graphicFrameChg chg="mod modGraphic">
          <ac:chgData name="Chadwin Pylman   Transnet Property   JHB" userId="db6a954d-bec4-4db4-9caf-05e7b37f6917" providerId="ADAL" clId="{3C533B8D-DF44-409D-94A0-AEE6D5C3E5F3}" dt="2024-01-22T08:24:05.646" v="637" actId="122"/>
          <ac:graphicFrameMkLst>
            <pc:docMk/>
            <pc:sldMk cId="3828851222" sldId="2102"/>
            <ac:graphicFrameMk id="6" creationId="{02C43F86-A4FB-5370-289D-7DB47833B8C6}"/>
          </ac:graphicFrameMkLst>
        </pc:graphicFrameChg>
      </pc:sldChg>
      <pc:sldChg chg="modSp mod">
        <pc:chgData name="Chadwin Pylman   Transnet Property   JHB" userId="db6a954d-bec4-4db4-9caf-05e7b37f6917" providerId="ADAL" clId="{3C533B8D-DF44-409D-94A0-AEE6D5C3E5F3}" dt="2024-01-22T08:23:58.670" v="634" actId="122"/>
        <pc:sldMkLst>
          <pc:docMk/>
          <pc:sldMk cId="3477717531" sldId="2103"/>
        </pc:sldMkLst>
        <pc:spChg chg="mod">
          <ac:chgData name="Chadwin Pylman   Transnet Property   JHB" userId="db6a954d-bec4-4db4-9caf-05e7b37f6917" providerId="ADAL" clId="{3C533B8D-DF44-409D-94A0-AEE6D5C3E5F3}" dt="2024-01-22T08:02:11.384" v="393" actId="2711"/>
          <ac:spMkLst>
            <pc:docMk/>
            <pc:sldMk cId="3477717531" sldId="2103"/>
            <ac:spMk id="2" creationId="{38C7DF0D-CF3D-BC6E-2657-3E6DE238EA93}"/>
          </ac:spMkLst>
        </pc:spChg>
        <pc:spChg chg="mod">
          <ac:chgData name="Chadwin Pylman   Transnet Property   JHB" userId="db6a954d-bec4-4db4-9caf-05e7b37f6917" providerId="ADAL" clId="{3C533B8D-DF44-409D-94A0-AEE6D5C3E5F3}" dt="2024-01-22T08:02:05.991" v="392" actId="404"/>
          <ac:spMkLst>
            <pc:docMk/>
            <pc:sldMk cId="3477717531" sldId="2103"/>
            <ac:spMk id="19" creationId="{5A7DDE8A-B245-7F8D-DA6F-32478A5A14BA}"/>
          </ac:spMkLst>
        </pc:spChg>
        <pc:graphicFrameChg chg="mod modGraphic">
          <ac:chgData name="Chadwin Pylman   Transnet Property   JHB" userId="db6a954d-bec4-4db4-9caf-05e7b37f6917" providerId="ADAL" clId="{3C533B8D-DF44-409D-94A0-AEE6D5C3E5F3}" dt="2024-01-22T08:23:58.670" v="634" actId="122"/>
          <ac:graphicFrameMkLst>
            <pc:docMk/>
            <pc:sldMk cId="3477717531" sldId="2103"/>
            <ac:graphicFrameMk id="6" creationId="{B2DE00EC-65CE-1CED-E81A-1258D46E46C9}"/>
          </ac:graphicFrameMkLst>
        </pc:graphicFrameChg>
      </pc:sldChg>
      <pc:sldChg chg="modSp mod">
        <pc:chgData name="Chadwin Pylman   Transnet Property   JHB" userId="db6a954d-bec4-4db4-9caf-05e7b37f6917" providerId="ADAL" clId="{3C533B8D-DF44-409D-94A0-AEE6D5C3E5F3}" dt="2024-01-22T08:21:17.277" v="583" actId="1036"/>
        <pc:sldMkLst>
          <pc:docMk/>
          <pc:sldMk cId="396151816" sldId="2104"/>
        </pc:sldMkLst>
        <pc:spChg chg="mod">
          <ac:chgData name="Chadwin Pylman   Transnet Property   JHB" userId="db6a954d-bec4-4db4-9caf-05e7b37f6917" providerId="ADAL" clId="{3C533B8D-DF44-409D-94A0-AEE6D5C3E5F3}" dt="2024-01-22T07:50:25.939" v="214" actId="2711"/>
          <ac:spMkLst>
            <pc:docMk/>
            <pc:sldMk cId="396151816" sldId="2104"/>
            <ac:spMk id="2" creationId="{38C7DF0D-CF3D-BC6E-2657-3E6DE238EA93}"/>
          </ac:spMkLst>
        </pc:spChg>
        <pc:spChg chg="mod">
          <ac:chgData name="Chadwin Pylman   Transnet Property   JHB" userId="db6a954d-bec4-4db4-9caf-05e7b37f6917" providerId="ADAL" clId="{3C533B8D-DF44-409D-94A0-AEE6D5C3E5F3}" dt="2024-01-22T08:21:17.277" v="583" actId="1036"/>
          <ac:spMkLst>
            <pc:docMk/>
            <pc:sldMk cId="396151816" sldId="2104"/>
            <ac:spMk id="9" creationId="{C522FEBE-4B00-D5CE-67D3-1BAAD5A0340E}"/>
          </ac:spMkLst>
        </pc:spChg>
        <pc:spChg chg="mod">
          <ac:chgData name="Chadwin Pylman   Transnet Property   JHB" userId="db6a954d-bec4-4db4-9caf-05e7b37f6917" providerId="ADAL" clId="{3C533B8D-DF44-409D-94A0-AEE6D5C3E5F3}" dt="2024-01-22T07:50:49.725" v="239" actId="1036"/>
          <ac:spMkLst>
            <pc:docMk/>
            <pc:sldMk cId="396151816" sldId="2104"/>
            <ac:spMk id="13" creationId="{7F8DCCD1-AF47-2B86-8B8E-5F2CAC2DB7A2}"/>
          </ac:spMkLst>
        </pc:spChg>
        <pc:spChg chg="mod">
          <ac:chgData name="Chadwin Pylman   Transnet Property   JHB" userId="db6a954d-bec4-4db4-9caf-05e7b37f6917" providerId="ADAL" clId="{3C533B8D-DF44-409D-94A0-AEE6D5C3E5F3}" dt="2024-01-22T07:50:48.025" v="235" actId="1036"/>
          <ac:spMkLst>
            <pc:docMk/>
            <pc:sldMk cId="396151816" sldId="2104"/>
            <ac:spMk id="14" creationId="{2851C341-B0AA-9A1F-FAA6-7D33C88A4BEA}"/>
          </ac:spMkLst>
        </pc:spChg>
        <pc:spChg chg="mod">
          <ac:chgData name="Chadwin Pylman   Transnet Property   JHB" userId="db6a954d-bec4-4db4-9caf-05e7b37f6917" providerId="ADAL" clId="{3C533B8D-DF44-409D-94A0-AEE6D5C3E5F3}" dt="2024-01-22T07:50:22.929" v="213" actId="404"/>
          <ac:spMkLst>
            <pc:docMk/>
            <pc:sldMk cId="396151816" sldId="2104"/>
            <ac:spMk id="19" creationId="{5A7DDE8A-B245-7F8D-DA6F-32478A5A14BA}"/>
          </ac:spMkLst>
        </pc:spChg>
        <pc:picChg chg="mod">
          <ac:chgData name="Chadwin Pylman   Transnet Property   JHB" userId="db6a954d-bec4-4db4-9caf-05e7b37f6917" providerId="ADAL" clId="{3C533B8D-DF44-409D-94A0-AEE6D5C3E5F3}" dt="2024-01-22T08:21:06.142" v="577" actId="1440"/>
          <ac:picMkLst>
            <pc:docMk/>
            <pc:sldMk cId="396151816" sldId="2104"/>
            <ac:picMk id="6" creationId="{789F6B0C-C731-C8EA-0B42-55F0750F9557}"/>
          </ac:picMkLst>
        </pc:picChg>
        <pc:picChg chg="mod">
          <ac:chgData name="Chadwin Pylman   Transnet Property   JHB" userId="db6a954d-bec4-4db4-9caf-05e7b37f6917" providerId="ADAL" clId="{3C533B8D-DF44-409D-94A0-AEE6D5C3E5F3}" dt="2024-01-22T08:21:07.316" v="578" actId="1440"/>
          <ac:picMkLst>
            <pc:docMk/>
            <pc:sldMk cId="396151816" sldId="2104"/>
            <ac:picMk id="7" creationId="{C942E115-0A2D-C4FF-2155-7B1FD9AD9E4C}"/>
          </ac:picMkLst>
        </pc:picChg>
        <pc:picChg chg="mod">
          <ac:chgData name="Chadwin Pylman   Transnet Property   JHB" userId="db6a954d-bec4-4db4-9caf-05e7b37f6917" providerId="ADAL" clId="{3C533B8D-DF44-409D-94A0-AEE6D5C3E5F3}" dt="2024-01-22T07:50:44.316" v="230" actId="1036"/>
          <ac:picMkLst>
            <pc:docMk/>
            <pc:sldMk cId="396151816" sldId="2104"/>
            <ac:picMk id="10" creationId="{301A7311-EDAE-A40D-4D0E-99A51F26CE91}"/>
          </ac:picMkLst>
        </pc:picChg>
      </pc:sldChg>
      <pc:sldChg chg="modSp mod">
        <pc:chgData name="Chadwin Pylman   Transnet Property   JHB" userId="db6a954d-bec4-4db4-9caf-05e7b37f6917" providerId="ADAL" clId="{3C533B8D-DF44-409D-94A0-AEE6D5C3E5F3}" dt="2024-01-22T07:51:56.873" v="264" actId="2711"/>
        <pc:sldMkLst>
          <pc:docMk/>
          <pc:sldMk cId="602352385" sldId="2105"/>
        </pc:sldMkLst>
        <pc:spChg chg="mod">
          <ac:chgData name="Chadwin Pylman   Transnet Property   JHB" userId="db6a954d-bec4-4db4-9caf-05e7b37f6917" providerId="ADAL" clId="{3C533B8D-DF44-409D-94A0-AEE6D5C3E5F3}" dt="2024-01-22T07:50:59.347" v="242" actId="2711"/>
          <ac:spMkLst>
            <pc:docMk/>
            <pc:sldMk cId="602352385" sldId="2105"/>
            <ac:spMk id="2" creationId="{38C7DF0D-CF3D-BC6E-2657-3E6DE238EA93}"/>
          </ac:spMkLst>
        </pc:spChg>
        <pc:spChg chg="mod">
          <ac:chgData name="Chadwin Pylman   Transnet Property   JHB" userId="db6a954d-bec4-4db4-9caf-05e7b37f6917" providerId="ADAL" clId="{3C533B8D-DF44-409D-94A0-AEE6D5C3E5F3}" dt="2024-01-22T07:51:56.873" v="264" actId="2711"/>
          <ac:spMkLst>
            <pc:docMk/>
            <pc:sldMk cId="602352385" sldId="2105"/>
            <ac:spMk id="9" creationId="{C522FEBE-4B00-D5CE-67D3-1BAAD5A0340E}"/>
          </ac:spMkLst>
        </pc:spChg>
        <pc:spChg chg="mod">
          <ac:chgData name="Chadwin Pylman   Transnet Property   JHB" userId="db6a954d-bec4-4db4-9caf-05e7b37f6917" providerId="ADAL" clId="{3C533B8D-DF44-409D-94A0-AEE6D5C3E5F3}" dt="2024-01-22T07:51:50.023" v="263" actId="404"/>
          <ac:spMkLst>
            <pc:docMk/>
            <pc:sldMk cId="602352385" sldId="2105"/>
            <ac:spMk id="12" creationId="{7ECF5678-F6A7-405B-476F-39A601756D37}"/>
          </ac:spMkLst>
        </pc:spChg>
        <pc:spChg chg="mod">
          <ac:chgData name="Chadwin Pylman   Transnet Property   JHB" userId="db6a954d-bec4-4db4-9caf-05e7b37f6917" providerId="ADAL" clId="{3C533B8D-DF44-409D-94A0-AEE6D5C3E5F3}" dt="2024-01-22T07:50:55.606" v="241" actId="404"/>
          <ac:spMkLst>
            <pc:docMk/>
            <pc:sldMk cId="602352385" sldId="2105"/>
            <ac:spMk id="19" creationId="{5A7DDE8A-B245-7F8D-DA6F-32478A5A14BA}"/>
          </ac:spMkLst>
        </pc:spChg>
      </pc:sldChg>
      <pc:sldChg chg="modSp mod">
        <pc:chgData name="Chadwin Pylman   Transnet Property   JHB" userId="db6a954d-bec4-4db4-9caf-05e7b37f6917" providerId="ADAL" clId="{3C533B8D-DF44-409D-94A0-AEE6D5C3E5F3}" dt="2024-01-22T08:17:34.504" v="533" actId="242"/>
        <pc:sldMkLst>
          <pc:docMk/>
          <pc:sldMk cId="2919385459" sldId="2106"/>
        </pc:sldMkLst>
        <pc:spChg chg="mod">
          <ac:chgData name="Chadwin Pylman   Transnet Property   JHB" userId="db6a954d-bec4-4db4-9caf-05e7b37f6917" providerId="ADAL" clId="{3C533B8D-DF44-409D-94A0-AEE6D5C3E5F3}" dt="2024-01-22T07:52:13.800" v="267" actId="2711"/>
          <ac:spMkLst>
            <pc:docMk/>
            <pc:sldMk cId="2919385459" sldId="2106"/>
            <ac:spMk id="2" creationId="{38C7DF0D-CF3D-BC6E-2657-3E6DE238EA93}"/>
          </ac:spMkLst>
        </pc:spChg>
        <pc:spChg chg="mod">
          <ac:chgData name="Chadwin Pylman   Transnet Property   JHB" userId="db6a954d-bec4-4db4-9caf-05e7b37f6917" providerId="ADAL" clId="{3C533B8D-DF44-409D-94A0-AEE6D5C3E5F3}" dt="2024-01-22T07:53:19.670" v="275" actId="404"/>
          <ac:spMkLst>
            <pc:docMk/>
            <pc:sldMk cId="2919385459" sldId="2106"/>
            <ac:spMk id="4" creationId="{A5DE48DE-844E-4D97-3A60-C40F4FD65F88}"/>
          </ac:spMkLst>
        </pc:spChg>
        <pc:spChg chg="mod">
          <ac:chgData name="Chadwin Pylman   Transnet Property   JHB" userId="db6a954d-bec4-4db4-9caf-05e7b37f6917" providerId="ADAL" clId="{3C533B8D-DF44-409D-94A0-AEE6D5C3E5F3}" dt="2024-01-22T07:52:56.142" v="269" actId="404"/>
          <ac:spMkLst>
            <pc:docMk/>
            <pc:sldMk cId="2919385459" sldId="2106"/>
            <ac:spMk id="9" creationId="{C522FEBE-4B00-D5CE-67D3-1BAAD5A0340E}"/>
          </ac:spMkLst>
        </pc:spChg>
        <pc:spChg chg="mod">
          <ac:chgData name="Chadwin Pylman   Transnet Property   JHB" userId="db6a954d-bec4-4db4-9caf-05e7b37f6917" providerId="ADAL" clId="{3C533B8D-DF44-409D-94A0-AEE6D5C3E5F3}" dt="2024-01-22T07:52:10.142" v="266" actId="404"/>
          <ac:spMkLst>
            <pc:docMk/>
            <pc:sldMk cId="2919385459" sldId="2106"/>
            <ac:spMk id="19" creationId="{5A7DDE8A-B245-7F8D-DA6F-32478A5A14BA}"/>
          </ac:spMkLst>
        </pc:spChg>
        <pc:graphicFrameChg chg="mod modGraphic">
          <ac:chgData name="Chadwin Pylman   Transnet Property   JHB" userId="db6a954d-bec4-4db4-9caf-05e7b37f6917" providerId="ADAL" clId="{3C533B8D-DF44-409D-94A0-AEE6D5C3E5F3}" dt="2024-01-22T08:17:34.504" v="533" actId="242"/>
          <ac:graphicFrameMkLst>
            <pc:docMk/>
            <pc:sldMk cId="2919385459" sldId="2106"/>
            <ac:graphicFrameMk id="3" creationId="{FAC582A1-B4D6-F3C6-6308-FA43BDD020D3}"/>
          </ac:graphicFrameMkLst>
        </pc:graphicFrameChg>
      </pc:sldChg>
    </pc:docChg>
  </pc:docChgLst>
  <pc:docChgLst>
    <pc:chgData name="Obed Mmbengeni     Transnet Property    JHB" userId="S::obed.mmbengeni@transnet.net::2705e92a-9795-45bf-aa5d-d31def6fcb41" providerId="AD" clId="Web-{C3C2598B-B6B3-CA89-7C59-CA46B91A7F20}"/>
    <pc:docChg chg="modSld">
      <pc:chgData name="Obed Mmbengeni     Transnet Property    JHB" userId="S::obed.mmbengeni@transnet.net::2705e92a-9795-45bf-aa5d-d31def6fcb41" providerId="AD" clId="Web-{C3C2598B-B6B3-CA89-7C59-CA46B91A7F20}" dt="2024-01-19T09:27:58.192" v="50"/>
      <pc:docMkLst>
        <pc:docMk/>
      </pc:docMkLst>
      <pc:sldChg chg="addSp delSp modSp">
        <pc:chgData name="Obed Mmbengeni     Transnet Property    JHB" userId="S::obed.mmbengeni@transnet.net::2705e92a-9795-45bf-aa5d-d31def6fcb41" providerId="AD" clId="Web-{C3C2598B-B6B3-CA89-7C59-CA46B91A7F20}" dt="2024-01-19T09:27:58.192" v="50"/>
        <pc:sldMkLst>
          <pc:docMk/>
          <pc:sldMk cId="2132558334" sldId="2093"/>
        </pc:sldMkLst>
        <pc:graphicFrameChg chg="add del mod">
          <ac:chgData name="Obed Mmbengeni     Transnet Property    JHB" userId="S::obed.mmbengeni@transnet.net::2705e92a-9795-45bf-aa5d-d31def6fcb41" providerId="AD" clId="Web-{C3C2598B-B6B3-CA89-7C59-CA46B91A7F20}" dt="2024-01-19T09:27:58.192" v="50"/>
          <ac:graphicFrameMkLst>
            <pc:docMk/>
            <pc:sldMk cId="2132558334" sldId="2093"/>
            <ac:graphicFrameMk id="4" creationId="{F2BA75F9-B61C-9867-B9DE-462635AB034E}"/>
          </ac:graphicFrameMkLst>
        </pc:graphicFrameChg>
      </pc:sldChg>
      <pc:sldChg chg="modSp">
        <pc:chgData name="Obed Mmbengeni     Transnet Property    JHB" userId="S::obed.mmbengeni@transnet.net::2705e92a-9795-45bf-aa5d-d31def6fcb41" providerId="AD" clId="Web-{C3C2598B-B6B3-CA89-7C59-CA46B91A7F20}" dt="2024-01-19T09:24:10.984" v="48"/>
        <pc:sldMkLst>
          <pc:docMk/>
          <pc:sldMk cId="796462007" sldId="2094"/>
        </pc:sldMkLst>
        <pc:graphicFrameChg chg="mod modGraphic">
          <ac:chgData name="Obed Mmbengeni     Transnet Property    JHB" userId="S::obed.mmbengeni@transnet.net::2705e92a-9795-45bf-aa5d-d31def6fcb41" providerId="AD" clId="Web-{C3C2598B-B6B3-CA89-7C59-CA46B91A7F20}" dt="2024-01-19T09:24:10.984" v="48"/>
          <ac:graphicFrameMkLst>
            <pc:docMk/>
            <pc:sldMk cId="796462007" sldId="2094"/>
            <ac:graphicFrameMk id="6" creationId="{DC5BAAB3-CE2E-8664-4479-2CA6C952B64D}"/>
          </ac:graphicFrameMkLst>
        </pc:graphicFrameChg>
      </pc:sldChg>
    </pc:docChg>
  </pc:docChgLst>
  <pc:docChgLst>
    <pc:chgData name="Obed Mmbengeni     Transnet Property    JHB" userId="S::obed.mmbengeni@transnet.net::2705e92a-9795-45bf-aa5d-d31def6fcb41" providerId="AD" clId="Web-{F228F937-62ED-45F7-B0D4-BEAE3D0C8656}"/>
    <pc:docChg chg="addSld modSld modSection">
      <pc:chgData name="Obed Mmbengeni     Transnet Property    JHB" userId="S::obed.mmbengeni@transnet.net::2705e92a-9795-45bf-aa5d-d31def6fcb41" providerId="AD" clId="Web-{F228F937-62ED-45F7-B0D4-BEAE3D0C8656}" dt="2024-01-19T06:58:10.554" v="68"/>
      <pc:docMkLst>
        <pc:docMk/>
      </pc:docMkLst>
      <pc:sldChg chg="addSp delSp modSp">
        <pc:chgData name="Obed Mmbengeni     Transnet Property    JHB" userId="S::obed.mmbengeni@transnet.net::2705e92a-9795-45bf-aa5d-d31def6fcb41" providerId="AD" clId="Web-{F228F937-62ED-45F7-B0D4-BEAE3D0C8656}" dt="2024-01-19T06:57:26.631" v="17"/>
        <pc:sldMkLst>
          <pc:docMk/>
          <pc:sldMk cId="3525149" sldId="2088"/>
        </pc:sldMkLst>
        <pc:graphicFrameChg chg="add del mod">
          <ac:chgData name="Obed Mmbengeni     Transnet Property    JHB" userId="S::obed.mmbengeni@transnet.net::2705e92a-9795-45bf-aa5d-d31def6fcb41" providerId="AD" clId="Web-{F228F937-62ED-45F7-B0D4-BEAE3D0C8656}" dt="2024-01-19T06:51:47.579" v="1"/>
          <ac:graphicFrameMkLst>
            <pc:docMk/>
            <pc:sldMk cId="3525149" sldId="2088"/>
            <ac:graphicFrameMk id="4" creationId="{31D1C41F-52DD-DDD7-B06C-B66B836A911C}"/>
          </ac:graphicFrameMkLst>
        </pc:graphicFrameChg>
        <pc:graphicFrameChg chg="add mod modGraphic">
          <ac:chgData name="Obed Mmbengeni     Transnet Property    JHB" userId="S::obed.mmbengeni@transnet.net::2705e92a-9795-45bf-aa5d-d31def6fcb41" providerId="AD" clId="Web-{F228F937-62ED-45F7-B0D4-BEAE3D0C8656}" dt="2024-01-19T06:57:26.631" v="17"/>
          <ac:graphicFrameMkLst>
            <pc:docMk/>
            <pc:sldMk cId="3525149" sldId="2088"/>
            <ac:graphicFrameMk id="6" creationId="{B2DE00EC-65CE-1CED-E81A-1258D46E46C9}"/>
          </ac:graphicFrameMkLst>
        </pc:graphicFrameChg>
      </pc:sldChg>
      <pc:sldChg chg="modSp add replId">
        <pc:chgData name="Obed Mmbengeni     Transnet Property    JHB" userId="S::obed.mmbengeni@transnet.net::2705e92a-9795-45bf-aa5d-d31def6fcb41" providerId="AD" clId="Web-{F228F937-62ED-45F7-B0D4-BEAE3D0C8656}" dt="2024-01-19T06:58:10.554" v="68"/>
        <pc:sldMkLst>
          <pc:docMk/>
          <pc:sldMk cId="2132558334" sldId="2093"/>
        </pc:sldMkLst>
        <pc:graphicFrameChg chg="mod modGraphic">
          <ac:chgData name="Obed Mmbengeni     Transnet Property    JHB" userId="S::obed.mmbengeni@transnet.net::2705e92a-9795-45bf-aa5d-d31def6fcb41" providerId="AD" clId="Web-{F228F937-62ED-45F7-B0D4-BEAE3D0C8656}" dt="2024-01-19T06:58:10.554" v="68"/>
          <ac:graphicFrameMkLst>
            <pc:docMk/>
            <pc:sldMk cId="2132558334" sldId="2093"/>
            <ac:graphicFrameMk id="6" creationId="{02C43F86-A4FB-5370-289D-7DB47833B8C6}"/>
          </ac:graphicFrameMkLst>
        </pc:graphicFrameChg>
      </pc:sldChg>
      <pc:sldChg chg="add replId">
        <pc:chgData name="Obed Mmbengeni     Transnet Property    JHB" userId="S::obed.mmbengeni@transnet.net::2705e92a-9795-45bf-aa5d-d31def6fcb41" providerId="AD" clId="Web-{F228F937-62ED-45F7-B0D4-BEAE3D0C8656}" dt="2024-01-19T06:57:54.616" v="19"/>
        <pc:sldMkLst>
          <pc:docMk/>
          <pc:sldMk cId="796462007" sldId="2094"/>
        </pc:sldMkLst>
      </pc:sldChg>
    </pc:docChg>
  </pc:docChgLst>
  <pc:docChgLst>
    <pc:chgData name="Rachael Joseph   Transnet Property   Cape Town" userId="dcf99218-cb12-45a8-adf2-0c224119ef06" providerId="ADAL" clId="{398F5AF9-E40F-47FC-AC1A-C3DCBDFB1F91}"/>
    <pc:docChg chg="undo redo custSel addSld delSld modSld sldOrd delSection modSection">
      <pc:chgData name="Rachael Joseph   Transnet Property   Cape Town" userId="dcf99218-cb12-45a8-adf2-0c224119ef06" providerId="ADAL" clId="{398F5AF9-E40F-47FC-AC1A-C3DCBDFB1F91}" dt="2024-01-22T11:18:23.038" v="4285" actId="20577"/>
      <pc:docMkLst>
        <pc:docMk/>
      </pc:docMkLst>
      <pc:sldChg chg="modSp mod">
        <pc:chgData name="Rachael Joseph   Transnet Property   Cape Town" userId="dcf99218-cb12-45a8-adf2-0c224119ef06" providerId="ADAL" clId="{398F5AF9-E40F-47FC-AC1A-C3DCBDFB1F91}" dt="2024-01-22T06:10:37.579" v="3471" actId="1037"/>
        <pc:sldMkLst>
          <pc:docMk/>
          <pc:sldMk cId="1378339560" sldId="2029"/>
        </pc:sldMkLst>
        <pc:spChg chg="mod">
          <ac:chgData name="Rachael Joseph   Transnet Property   Cape Town" userId="dcf99218-cb12-45a8-adf2-0c224119ef06" providerId="ADAL" clId="{398F5AF9-E40F-47FC-AC1A-C3DCBDFB1F91}" dt="2024-01-22T06:10:37.579" v="3471" actId="1037"/>
          <ac:spMkLst>
            <pc:docMk/>
            <pc:sldMk cId="1378339560" sldId="2029"/>
            <ac:spMk id="130" creationId="{EF382210-A450-6F80-3314-8A2842F91CA5}"/>
          </ac:spMkLst>
        </pc:spChg>
        <pc:graphicFrameChg chg="mod modGraphic">
          <ac:chgData name="Rachael Joseph   Transnet Property   Cape Town" userId="dcf99218-cb12-45a8-adf2-0c224119ef06" providerId="ADAL" clId="{398F5AF9-E40F-47FC-AC1A-C3DCBDFB1F91}" dt="2024-01-19T11:20:42.730" v="2581" actId="20577"/>
          <ac:graphicFrameMkLst>
            <pc:docMk/>
            <pc:sldMk cId="1378339560" sldId="2029"/>
            <ac:graphicFrameMk id="20" creationId="{DE0DA2DE-03F7-09AD-73F1-C949E5416CAB}"/>
          </ac:graphicFrameMkLst>
        </pc:graphicFrameChg>
      </pc:sldChg>
      <pc:sldChg chg="addSp delSp modSp mod">
        <pc:chgData name="Rachael Joseph   Transnet Property   Cape Town" userId="dcf99218-cb12-45a8-adf2-0c224119ef06" providerId="ADAL" clId="{398F5AF9-E40F-47FC-AC1A-C3DCBDFB1F91}" dt="2024-01-22T06:25:01.249" v="3782" actId="20577"/>
        <pc:sldMkLst>
          <pc:docMk/>
          <pc:sldMk cId="910211464" sldId="2050"/>
        </pc:sldMkLst>
        <pc:spChg chg="mod">
          <ac:chgData name="Rachael Joseph   Transnet Property   Cape Town" userId="dcf99218-cb12-45a8-adf2-0c224119ef06" providerId="ADAL" clId="{398F5AF9-E40F-47FC-AC1A-C3DCBDFB1F91}" dt="2024-01-18T11:51:17.714" v="362" actId="207"/>
          <ac:spMkLst>
            <pc:docMk/>
            <pc:sldMk cId="910211464" sldId="2050"/>
            <ac:spMk id="5" creationId="{1F54FC13-02AE-90E1-C564-F0EE8DD75D6F}"/>
          </ac:spMkLst>
        </pc:spChg>
        <pc:spChg chg="add del mod">
          <ac:chgData name="Rachael Joseph   Transnet Property   Cape Town" userId="dcf99218-cb12-45a8-adf2-0c224119ef06" providerId="ADAL" clId="{398F5AF9-E40F-47FC-AC1A-C3DCBDFB1F91}" dt="2024-01-18T11:49:00.093" v="288"/>
          <ac:spMkLst>
            <pc:docMk/>
            <pc:sldMk cId="910211464" sldId="2050"/>
            <ac:spMk id="7" creationId="{C9FDE75D-E132-28A3-8A77-CFDE3159EF46}"/>
          </ac:spMkLst>
        </pc:spChg>
        <pc:spChg chg="mod">
          <ac:chgData name="Rachael Joseph   Transnet Property   Cape Town" userId="dcf99218-cb12-45a8-adf2-0c224119ef06" providerId="ADAL" clId="{398F5AF9-E40F-47FC-AC1A-C3DCBDFB1F91}" dt="2024-01-22T06:24:40.213" v="3748" actId="20577"/>
          <ac:spMkLst>
            <pc:docMk/>
            <pc:sldMk cId="910211464" sldId="2050"/>
            <ac:spMk id="11" creationId="{6AEC1638-28F3-6F55-DF6F-C9CA11247ECE}"/>
          </ac:spMkLst>
        </pc:spChg>
        <pc:spChg chg="mod">
          <ac:chgData name="Rachael Joseph   Transnet Property   Cape Town" userId="dcf99218-cb12-45a8-adf2-0c224119ef06" providerId="ADAL" clId="{398F5AF9-E40F-47FC-AC1A-C3DCBDFB1F91}" dt="2024-01-22T06:25:01.249" v="3782" actId="20577"/>
          <ac:spMkLst>
            <pc:docMk/>
            <pc:sldMk cId="910211464" sldId="2050"/>
            <ac:spMk id="12" creationId="{3B5E12DC-64D2-45C3-F3B8-46595D8598CD}"/>
          </ac:spMkLst>
        </pc:spChg>
      </pc:sldChg>
      <pc:sldChg chg="addSp delSp modSp del mod">
        <pc:chgData name="Rachael Joseph   Transnet Property   Cape Town" userId="dcf99218-cb12-45a8-adf2-0c224119ef06" providerId="ADAL" clId="{398F5AF9-E40F-47FC-AC1A-C3DCBDFB1F91}" dt="2024-01-18T12:30:06.467" v="517" actId="47"/>
        <pc:sldMkLst>
          <pc:docMk/>
          <pc:sldMk cId="2963783318" sldId="2054"/>
        </pc:sldMkLst>
        <pc:spChg chg="add del mod">
          <ac:chgData name="Rachael Joseph   Transnet Property   Cape Town" userId="dcf99218-cb12-45a8-adf2-0c224119ef06" providerId="ADAL" clId="{398F5AF9-E40F-47FC-AC1A-C3DCBDFB1F91}" dt="2024-01-18T11:47:52.268" v="273"/>
          <ac:spMkLst>
            <pc:docMk/>
            <pc:sldMk cId="2963783318" sldId="2054"/>
            <ac:spMk id="5" creationId="{5469887A-D77B-4201-3749-D3C6115C0721}"/>
          </ac:spMkLst>
        </pc:spChg>
        <pc:spChg chg="add del">
          <ac:chgData name="Rachael Joseph   Transnet Property   Cape Town" userId="dcf99218-cb12-45a8-adf2-0c224119ef06" providerId="ADAL" clId="{398F5AF9-E40F-47FC-AC1A-C3DCBDFB1F91}" dt="2024-01-18T11:48:27.402" v="285" actId="478"/>
          <ac:spMkLst>
            <pc:docMk/>
            <pc:sldMk cId="2963783318" sldId="2054"/>
            <ac:spMk id="6" creationId="{C5FD939D-CA5B-98F9-F940-CE6A247861B2}"/>
          </ac:spMkLst>
        </pc:spChg>
        <pc:spChg chg="add del">
          <ac:chgData name="Rachael Joseph   Transnet Property   Cape Town" userId="dcf99218-cb12-45a8-adf2-0c224119ef06" providerId="ADAL" clId="{398F5AF9-E40F-47FC-AC1A-C3DCBDFB1F91}" dt="2024-01-18T11:48:25.930" v="282" actId="478"/>
          <ac:spMkLst>
            <pc:docMk/>
            <pc:sldMk cId="2963783318" sldId="2054"/>
            <ac:spMk id="7" creationId="{A24AD8EA-22B8-6E4F-F53C-A8EA6346EE67}"/>
          </ac:spMkLst>
        </pc:spChg>
        <pc:spChg chg="add del mod">
          <ac:chgData name="Rachael Joseph   Transnet Property   Cape Town" userId="dcf99218-cb12-45a8-adf2-0c224119ef06" providerId="ADAL" clId="{398F5AF9-E40F-47FC-AC1A-C3DCBDFB1F91}" dt="2024-01-18T11:47:51.763" v="272"/>
          <ac:spMkLst>
            <pc:docMk/>
            <pc:sldMk cId="2963783318" sldId="2054"/>
            <ac:spMk id="8" creationId="{5D20126B-95CC-F806-819C-3CF8437ABE27}"/>
          </ac:spMkLst>
        </pc:spChg>
        <pc:spChg chg="add del mod">
          <ac:chgData name="Rachael Joseph   Transnet Property   Cape Town" userId="dcf99218-cb12-45a8-adf2-0c224119ef06" providerId="ADAL" clId="{398F5AF9-E40F-47FC-AC1A-C3DCBDFB1F91}" dt="2024-01-18T11:48:23.961" v="279"/>
          <ac:spMkLst>
            <pc:docMk/>
            <pc:sldMk cId="2963783318" sldId="2054"/>
            <ac:spMk id="9" creationId="{569E288C-73CC-F6E1-36B2-0C33E19456CE}"/>
          </ac:spMkLst>
        </pc:spChg>
        <pc:spChg chg="add del mod">
          <ac:chgData name="Rachael Joseph   Transnet Property   Cape Town" userId="dcf99218-cb12-45a8-adf2-0c224119ef06" providerId="ADAL" clId="{398F5AF9-E40F-47FC-AC1A-C3DCBDFB1F91}" dt="2024-01-18T11:49:00.899" v="289" actId="21"/>
          <ac:spMkLst>
            <pc:docMk/>
            <pc:sldMk cId="2963783318" sldId="2054"/>
            <ac:spMk id="11" creationId="{C73105F6-1B3B-0BFB-3B63-5C1DECAF6C72}"/>
          </ac:spMkLst>
        </pc:spChg>
        <pc:spChg chg="add del mod">
          <ac:chgData name="Rachael Joseph   Transnet Property   Cape Town" userId="dcf99218-cb12-45a8-adf2-0c224119ef06" providerId="ADAL" clId="{398F5AF9-E40F-47FC-AC1A-C3DCBDFB1F91}" dt="2024-01-18T11:52:33.789" v="381" actId="404"/>
          <ac:spMkLst>
            <pc:docMk/>
            <pc:sldMk cId="2963783318" sldId="2054"/>
            <ac:spMk id="13" creationId="{6B1C4130-BBBB-6151-8923-C52F04B6CE2D}"/>
          </ac:spMkLst>
        </pc:spChg>
        <pc:spChg chg="mod">
          <ac:chgData name="Rachael Joseph   Transnet Property   Cape Town" userId="dcf99218-cb12-45a8-adf2-0c224119ef06" providerId="ADAL" clId="{398F5AF9-E40F-47FC-AC1A-C3DCBDFB1F91}" dt="2024-01-18T11:48:24.575" v="280" actId="1076"/>
          <ac:spMkLst>
            <pc:docMk/>
            <pc:sldMk cId="2963783318" sldId="2054"/>
            <ac:spMk id="14" creationId="{F27FCE4C-910B-8E4D-E623-312C45D2DD35}"/>
          </ac:spMkLst>
        </pc:spChg>
      </pc:sldChg>
      <pc:sldChg chg="modSp mod">
        <pc:chgData name="Rachael Joseph   Transnet Property   Cape Town" userId="dcf99218-cb12-45a8-adf2-0c224119ef06" providerId="ADAL" clId="{398F5AF9-E40F-47FC-AC1A-C3DCBDFB1F91}" dt="2024-01-19T08:46:55.081" v="1890"/>
        <pc:sldMkLst>
          <pc:docMk/>
          <pc:sldMk cId="4250548563" sldId="2055"/>
        </pc:sldMkLst>
        <pc:spChg chg="mod">
          <ac:chgData name="Rachael Joseph   Transnet Property   Cape Town" userId="dcf99218-cb12-45a8-adf2-0c224119ef06" providerId="ADAL" clId="{398F5AF9-E40F-47FC-AC1A-C3DCBDFB1F91}" dt="2024-01-19T08:46:55.081" v="1890"/>
          <ac:spMkLst>
            <pc:docMk/>
            <pc:sldMk cId="4250548563" sldId="2055"/>
            <ac:spMk id="169" creationId="{5B4F7F9B-D2FA-5CC1-9CAE-52E03FB090E2}"/>
          </ac:spMkLst>
        </pc:spChg>
      </pc:sldChg>
      <pc:sldChg chg="addSp delSp modSp mod">
        <pc:chgData name="Rachael Joseph   Transnet Property   Cape Town" userId="dcf99218-cb12-45a8-adf2-0c224119ef06" providerId="ADAL" clId="{398F5AF9-E40F-47FC-AC1A-C3DCBDFB1F91}" dt="2024-01-22T06:07:29.673" v="3430" actId="1076"/>
        <pc:sldMkLst>
          <pc:docMk/>
          <pc:sldMk cId="1525525468" sldId="2064"/>
        </pc:sldMkLst>
        <pc:spChg chg="mod">
          <ac:chgData name="Rachael Joseph   Transnet Property   Cape Town" userId="dcf99218-cb12-45a8-adf2-0c224119ef06" providerId="ADAL" clId="{398F5AF9-E40F-47FC-AC1A-C3DCBDFB1F91}" dt="2024-01-22T06:07:08.443" v="3427" actId="207"/>
          <ac:spMkLst>
            <pc:docMk/>
            <pc:sldMk cId="1525525468" sldId="2064"/>
            <ac:spMk id="2" creationId="{38C7DF0D-CF3D-BC6E-2657-3E6DE238EA93}"/>
          </ac:spMkLst>
        </pc:spChg>
        <pc:spChg chg="mod">
          <ac:chgData name="Rachael Joseph   Transnet Property   Cape Town" userId="dcf99218-cb12-45a8-adf2-0c224119ef06" providerId="ADAL" clId="{398F5AF9-E40F-47FC-AC1A-C3DCBDFB1F91}" dt="2024-01-19T08:19:13.286" v="1716" actId="20577"/>
          <ac:spMkLst>
            <pc:docMk/>
            <pc:sldMk cId="1525525468" sldId="2064"/>
            <ac:spMk id="19" creationId="{5A7DDE8A-B245-7F8D-DA6F-32478A5A14BA}"/>
          </ac:spMkLst>
        </pc:spChg>
        <pc:spChg chg="del">
          <ac:chgData name="Rachael Joseph   Transnet Property   Cape Town" userId="dcf99218-cb12-45a8-adf2-0c224119ef06" providerId="ADAL" clId="{398F5AF9-E40F-47FC-AC1A-C3DCBDFB1F91}" dt="2024-01-17T13:44:08.600" v="9" actId="478"/>
          <ac:spMkLst>
            <pc:docMk/>
            <pc:sldMk cId="1525525468" sldId="2064"/>
            <ac:spMk id="23" creationId="{6A433433-8F12-4EA8-960F-75952147BE04}"/>
          </ac:spMkLst>
        </pc:spChg>
        <pc:spChg chg="add del mod">
          <ac:chgData name="Rachael Joseph   Transnet Property   Cape Town" userId="dcf99218-cb12-45a8-adf2-0c224119ef06" providerId="ADAL" clId="{398F5AF9-E40F-47FC-AC1A-C3DCBDFB1F91}" dt="2024-01-22T06:07:29.673" v="3430" actId="1076"/>
          <ac:spMkLst>
            <pc:docMk/>
            <pc:sldMk cId="1525525468" sldId="2064"/>
            <ac:spMk id="24" creationId="{F56F26D1-1979-4E75-BF61-3D4E4DF77D1D}"/>
          </ac:spMkLst>
        </pc:spChg>
        <pc:graphicFrameChg chg="add mod modGraphic">
          <ac:chgData name="Rachael Joseph   Transnet Property   Cape Town" userId="dcf99218-cb12-45a8-adf2-0c224119ef06" providerId="ADAL" clId="{398F5AF9-E40F-47FC-AC1A-C3DCBDFB1F91}" dt="2024-01-19T08:49:24.056" v="1965" actId="20577"/>
          <ac:graphicFrameMkLst>
            <pc:docMk/>
            <pc:sldMk cId="1525525468" sldId="2064"/>
            <ac:graphicFrameMk id="3" creationId="{F03CF6A7-D93C-F9AD-F6C3-C87736FC6BEF}"/>
          </ac:graphicFrameMkLst>
        </pc:graphicFrameChg>
      </pc:sldChg>
      <pc:sldChg chg="del">
        <pc:chgData name="Rachael Joseph   Transnet Property   Cape Town" userId="dcf99218-cb12-45a8-adf2-0c224119ef06" providerId="ADAL" clId="{398F5AF9-E40F-47FC-AC1A-C3DCBDFB1F91}" dt="2024-01-17T13:43:48.548" v="7" actId="47"/>
        <pc:sldMkLst>
          <pc:docMk/>
          <pc:sldMk cId="2419330695" sldId="2070"/>
        </pc:sldMkLst>
      </pc:sldChg>
      <pc:sldChg chg="modSp mod">
        <pc:chgData name="Rachael Joseph   Transnet Property   Cape Town" userId="dcf99218-cb12-45a8-adf2-0c224119ef06" providerId="ADAL" clId="{398F5AF9-E40F-47FC-AC1A-C3DCBDFB1F91}" dt="2024-01-22T06:06:47.637" v="3425" actId="207"/>
        <pc:sldMkLst>
          <pc:docMk/>
          <pc:sldMk cId="1746865585" sldId="2072"/>
        </pc:sldMkLst>
        <pc:spChg chg="mod">
          <ac:chgData name="Rachael Joseph   Transnet Property   Cape Town" userId="dcf99218-cb12-45a8-adf2-0c224119ef06" providerId="ADAL" clId="{398F5AF9-E40F-47FC-AC1A-C3DCBDFB1F91}" dt="2024-01-22T06:06:47.637" v="3425" actId="207"/>
          <ac:spMkLst>
            <pc:docMk/>
            <pc:sldMk cId="1746865585" sldId="2072"/>
            <ac:spMk id="2" creationId="{38C7DF0D-CF3D-BC6E-2657-3E6DE238EA93}"/>
          </ac:spMkLst>
        </pc:spChg>
        <pc:spChg chg="mod">
          <ac:chgData name="Rachael Joseph   Transnet Property   Cape Town" userId="dcf99218-cb12-45a8-adf2-0c224119ef06" providerId="ADAL" clId="{398F5AF9-E40F-47FC-AC1A-C3DCBDFB1F91}" dt="2024-01-19T11:34:23.513" v="2618" actId="207"/>
          <ac:spMkLst>
            <pc:docMk/>
            <pc:sldMk cId="1746865585" sldId="2072"/>
            <ac:spMk id="7" creationId="{81B0B3C5-F282-4C82-936E-92EC3B1C40C6}"/>
          </ac:spMkLst>
        </pc:spChg>
        <pc:spChg chg="mod">
          <ac:chgData name="Rachael Joseph   Transnet Property   Cape Town" userId="dcf99218-cb12-45a8-adf2-0c224119ef06" providerId="ADAL" clId="{398F5AF9-E40F-47FC-AC1A-C3DCBDFB1F91}" dt="2024-01-18T13:45:59.375" v="1028" actId="20577"/>
          <ac:spMkLst>
            <pc:docMk/>
            <pc:sldMk cId="1746865585" sldId="2072"/>
            <ac:spMk id="19" creationId="{5A7DDE8A-B245-7F8D-DA6F-32478A5A14BA}"/>
          </ac:spMkLst>
        </pc:spChg>
      </pc:sldChg>
      <pc:sldChg chg="del">
        <pc:chgData name="Rachael Joseph   Transnet Property   Cape Town" userId="dcf99218-cb12-45a8-adf2-0c224119ef06" providerId="ADAL" clId="{398F5AF9-E40F-47FC-AC1A-C3DCBDFB1F91}" dt="2024-01-17T13:43:52.487" v="8" actId="47"/>
        <pc:sldMkLst>
          <pc:docMk/>
          <pc:sldMk cId="3559062191" sldId="2074"/>
        </pc:sldMkLst>
      </pc:sldChg>
      <pc:sldChg chg="del">
        <pc:chgData name="Rachael Joseph   Transnet Property   Cape Town" userId="dcf99218-cb12-45a8-adf2-0c224119ef06" providerId="ADAL" clId="{398F5AF9-E40F-47FC-AC1A-C3DCBDFB1F91}" dt="2024-01-17T13:43:42.917" v="4" actId="47"/>
        <pc:sldMkLst>
          <pc:docMk/>
          <pc:sldMk cId="527675693" sldId="2075"/>
        </pc:sldMkLst>
      </pc:sldChg>
      <pc:sldChg chg="del">
        <pc:chgData name="Rachael Joseph   Transnet Property   Cape Town" userId="dcf99218-cb12-45a8-adf2-0c224119ef06" providerId="ADAL" clId="{398F5AF9-E40F-47FC-AC1A-C3DCBDFB1F91}" dt="2024-01-17T13:43:38.513" v="3" actId="47"/>
        <pc:sldMkLst>
          <pc:docMk/>
          <pc:sldMk cId="3317622420" sldId="2076"/>
        </pc:sldMkLst>
      </pc:sldChg>
      <pc:sldChg chg="del">
        <pc:chgData name="Rachael Joseph   Transnet Property   Cape Town" userId="dcf99218-cb12-45a8-adf2-0c224119ef06" providerId="ADAL" clId="{398F5AF9-E40F-47FC-AC1A-C3DCBDFB1F91}" dt="2024-01-17T13:43:44.637" v="5" actId="47"/>
        <pc:sldMkLst>
          <pc:docMk/>
          <pc:sldMk cId="1052935283" sldId="2077"/>
        </pc:sldMkLst>
      </pc:sldChg>
      <pc:sldChg chg="del">
        <pc:chgData name="Rachael Joseph   Transnet Property   Cape Town" userId="dcf99218-cb12-45a8-adf2-0c224119ef06" providerId="ADAL" clId="{398F5AF9-E40F-47FC-AC1A-C3DCBDFB1F91}" dt="2024-01-17T13:43:45.837" v="6" actId="47"/>
        <pc:sldMkLst>
          <pc:docMk/>
          <pc:sldMk cId="3762264699" sldId="2078"/>
        </pc:sldMkLst>
      </pc:sldChg>
      <pc:sldChg chg="addSp delSp modSp mod ord modClrScheme chgLayout">
        <pc:chgData name="Rachael Joseph   Transnet Property   Cape Town" userId="dcf99218-cb12-45a8-adf2-0c224119ef06" providerId="ADAL" clId="{398F5AF9-E40F-47FC-AC1A-C3DCBDFB1F91}" dt="2024-01-22T06:10:11.735" v="3464" actId="404"/>
        <pc:sldMkLst>
          <pc:docMk/>
          <pc:sldMk cId="2248887472" sldId="2079"/>
        </pc:sldMkLst>
        <pc:spChg chg="mod ord">
          <ac:chgData name="Rachael Joseph   Transnet Property   Cape Town" userId="dcf99218-cb12-45a8-adf2-0c224119ef06" providerId="ADAL" clId="{398F5AF9-E40F-47FC-AC1A-C3DCBDFB1F91}" dt="2024-01-22T06:10:11.735" v="3464" actId="404"/>
          <ac:spMkLst>
            <pc:docMk/>
            <pc:sldMk cId="2248887472" sldId="2079"/>
            <ac:spMk id="2" creationId="{38C7DF0D-CF3D-BC6E-2657-3E6DE238EA93}"/>
          </ac:spMkLst>
        </pc:spChg>
        <pc:spChg chg="add mod ord">
          <ac:chgData name="Rachael Joseph   Transnet Property   Cape Town" userId="dcf99218-cb12-45a8-adf2-0c224119ef06" providerId="ADAL" clId="{398F5AF9-E40F-47FC-AC1A-C3DCBDFB1F91}" dt="2024-01-18T14:11:32.079" v="1305" actId="14100"/>
          <ac:spMkLst>
            <pc:docMk/>
            <pc:sldMk cId="2248887472" sldId="2079"/>
            <ac:spMk id="5" creationId="{ED08547B-3449-E1DE-3AD7-FE4AA85905AB}"/>
          </ac:spMkLst>
        </pc:spChg>
        <pc:spChg chg="add del mod ord">
          <ac:chgData name="Rachael Joseph   Transnet Property   Cape Town" userId="dcf99218-cb12-45a8-adf2-0c224119ef06" providerId="ADAL" clId="{398F5AF9-E40F-47FC-AC1A-C3DCBDFB1F91}" dt="2024-01-18T14:08:13.491" v="1266" actId="931"/>
          <ac:spMkLst>
            <pc:docMk/>
            <pc:sldMk cId="2248887472" sldId="2079"/>
            <ac:spMk id="6" creationId="{8F26FBB8-7252-4B15-D09C-99D1E23AD434}"/>
          </ac:spMkLst>
        </pc:spChg>
        <pc:spChg chg="del">
          <ac:chgData name="Rachael Joseph   Transnet Property   Cape Town" userId="dcf99218-cb12-45a8-adf2-0c224119ef06" providerId="ADAL" clId="{398F5AF9-E40F-47FC-AC1A-C3DCBDFB1F91}" dt="2024-01-17T13:40:02.065" v="1" actId="478"/>
          <ac:spMkLst>
            <pc:docMk/>
            <pc:sldMk cId="2248887472" sldId="2079"/>
            <ac:spMk id="7" creationId="{47AFA580-782C-BEA8-F053-E134BC049689}"/>
          </ac:spMkLst>
        </pc:spChg>
        <pc:spChg chg="mod ord">
          <ac:chgData name="Rachael Joseph   Transnet Property   Cape Town" userId="dcf99218-cb12-45a8-adf2-0c224119ef06" providerId="ADAL" clId="{398F5AF9-E40F-47FC-AC1A-C3DCBDFB1F91}" dt="2024-01-19T08:50:31.473" v="1975" actId="20577"/>
          <ac:spMkLst>
            <pc:docMk/>
            <pc:sldMk cId="2248887472" sldId="2079"/>
            <ac:spMk id="19" creationId="{5A7DDE8A-B245-7F8D-DA6F-32478A5A14BA}"/>
          </ac:spMkLst>
        </pc:spChg>
        <pc:spChg chg="del mod">
          <ac:chgData name="Rachael Joseph   Transnet Property   Cape Town" userId="dcf99218-cb12-45a8-adf2-0c224119ef06" providerId="ADAL" clId="{398F5AF9-E40F-47FC-AC1A-C3DCBDFB1F91}" dt="2024-01-18T14:09:01.918" v="1277"/>
          <ac:spMkLst>
            <pc:docMk/>
            <pc:sldMk cId="2248887472" sldId="2079"/>
            <ac:spMk id="24" creationId="{F56F26D1-1979-4E75-BF61-3D4E4DF77D1D}"/>
          </ac:spMkLst>
        </pc:spChg>
        <pc:picChg chg="add del mod modCrop">
          <ac:chgData name="Rachael Joseph   Transnet Property   Cape Town" userId="dcf99218-cb12-45a8-adf2-0c224119ef06" providerId="ADAL" clId="{398F5AF9-E40F-47FC-AC1A-C3DCBDFB1F91}" dt="2024-01-18T14:03:27.937" v="1247" actId="21"/>
          <ac:picMkLst>
            <pc:docMk/>
            <pc:sldMk cId="2248887472" sldId="2079"/>
            <ac:picMk id="3" creationId="{A76F9B05-0EBA-DD34-78B8-871C9EF41328}"/>
          </ac:picMkLst>
        </pc:picChg>
        <pc:picChg chg="add del mod">
          <ac:chgData name="Rachael Joseph   Transnet Property   Cape Town" userId="dcf99218-cb12-45a8-adf2-0c224119ef06" providerId="ADAL" clId="{398F5AF9-E40F-47FC-AC1A-C3DCBDFB1F91}" dt="2024-01-18T14:05:22.287" v="1252" actId="21"/>
          <ac:picMkLst>
            <pc:docMk/>
            <pc:sldMk cId="2248887472" sldId="2079"/>
            <ac:picMk id="4" creationId="{BD40F9DF-3A8E-B282-6972-3D2400C44610}"/>
          </ac:picMkLst>
        </pc:picChg>
        <pc:picChg chg="add mod modCrop">
          <ac:chgData name="Rachael Joseph   Transnet Property   Cape Town" userId="dcf99218-cb12-45a8-adf2-0c224119ef06" providerId="ADAL" clId="{398F5AF9-E40F-47FC-AC1A-C3DCBDFB1F91}" dt="2024-01-19T12:23:09.778" v="2687" actId="1582"/>
          <ac:picMkLst>
            <pc:docMk/>
            <pc:sldMk cId="2248887472" sldId="2079"/>
            <ac:picMk id="8" creationId="{CC3F6886-ECFB-460F-A410-031CA58D7C5C}"/>
          </ac:picMkLst>
        </pc:picChg>
      </pc:sldChg>
      <pc:sldChg chg="delSp modSp del mod">
        <pc:chgData name="Rachael Joseph   Transnet Property   Cape Town" userId="dcf99218-cb12-45a8-adf2-0c224119ef06" providerId="ADAL" clId="{398F5AF9-E40F-47FC-AC1A-C3DCBDFB1F91}" dt="2024-01-18T13:07:03.978" v="951" actId="47"/>
        <pc:sldMkLst>
          <pc:docMk/>
          <pc:sldMk cId="3617705951" sldId="2080"/>
        </pc:sldMkLst>
        <pc:spChg chg="del">
          <ac:chgData name="Rachael Joseph   Transnet Property   Cape Town" userId="dcf99218-cb12-45a8-adf2-0c224119ef06" providerId="ADAL" clId="{398F5AF9-E40F-47FC-AC1A-C3DCBDFB1F91}" dt="2024-01-18T12:44:20.108" v="519" actId="478"/>
          <ac:spMkLst>
            <pc:docMk/>
            <pc:sldMk cId="3617705951" sldId="2080"/>
            <ac:spMk id="5" creationId="{09A3CDC2-2DAC-E9B9-1709-4A006F015E62}"/>
          </ac:spMkLst>
        </pc:spChg>
        <pc:graphicFrameChg chg="del mod modGraphic">
          <ac:chgData name="Rachael Joseph   Transnet Property   Cape Town" userId="dcf99218-cb12-45a8-adf2-0c224119ef06" providerId="ADAL" clId="{398F5AF9-E40F-47FC-AC1A-C3DCBDFB1F91}" dt="2024-01-18T13:02:16.204" v="907" actId="21"/>
          <ac:graphicFrameMkLst>
            <pc:docMk/>
            <pc:sldMk cId="3617705951" sldId="2080"/>
            <ac:graphicFrameMk id="3" creationId="{74553962-F72C-EC2F-D581-6E03B63DC946}"/>
          </ac:graphicFrameMkLst>
        </pc:graphicFrameChg>
      </pc:sldChg>
      <pc:sldChg chg="modSp del mod">
        <pc:chgData name="Rachael Joseph   Transnet Property   Cape Town" userId="dcf99218-cb12-45a8-adf2-0c224119ef06" providerId="ADAL" clId="{398F5AF9-E40F-47FC-AC1A-C3DCBDFB1F91}" dt="2024-01-18T13:02:09.022" v="906" actId="47"/>
        <pc:sldMkLst>
          <pc:docMk/>
          <pc:sldMk cId="2621207771" sldId="2081"/>
        </pc:sldMkLst>
        <pc:graphicFrameChg chg="modGraphic">
          <ac:chgData name="Rachael Joseph   Transnet Property   Cape Town" userId="dcf99218-cb12-45a8-adf2-0c224119ef06" providerId="ADAL" clId="{398F5AF9-E40F-47FC-AC1A-C3DCBDFB1F91}" dt="2024-01-18T13:00:53.711" v="890" actId="2165"/>
          <ac:graphicFrameMkLst>
            <pc:docMk/>
            <pc:sldMk cId="2621207771" sldId="2081"/>
            <ac:graphicFrameMk id="3" creationId="{74553962-F72C-EC2F-D581-6E03B63DC946}"/>
          </ac:graphicFrameMkLst>
        </pc:graphicFrameChg>
      </pc:sldChg>
      <pc:sldChg chg="modSp mod ord">
        <pc:chgData name="Rachael Joseph   Transnet Property   Cape Town" userId="dcf99218-cb12-45a8-adf2-0c224119ef06" providerId="ADAL" clId="{398F5AF9-E40F-47FC-AC1A-C3DCBDFB1F91}" dt="2024-01-22T06:31:32.916" v="3789" actId="20577"/>
        <pc:sldMkLst>
          <pc:docMk/>
          <pc:sldMk cId="1117199322" sldId="2082"/>
        </pc:sldMkLst>
        <pc:spChg chg="mod">
          <ac:chgData name="Rachael Joseph   Transnet Property   Cape Town" userId="dcf99218-cb12-45a8-adf2-0c224119ef06" providerId="ADAL" clId="{398F5AF9-E40F-47FC-AC1A-C3DCBDFB1F91}" dt="2024-01-22T06:07:54.340" v="3432"/>
          <ac:spMkLst>
            <pc:docMk/>
            <pc:sldMk cId="1117199322" sldId="2082"/>
            <ac:spMk id="2" creationId="{38C7DF0D-CF3D-BC6E-2657-3E6DE238EA93}"/>
          </ac:spMkLst>
        </pc:spChg>
        <pc:spChg chg="mod">
          <ac:chgData name="Rachael Joseph   Transnet Property   Cape Town" userId="dcf99218-cb12-45a8-adf2-0c224119ef06" providerId="ADAL" clId="{398F5AF9-E40F-47FC-AC1A-C3DCBDFB1F91}" dt="2024-01-19T08:17:30.614" v="1670"/>
          <ac:spMkLst>
            <pc:docMk/>
            <pc:sldMk cId="1117199322" sldId="2082"/>
            <ac:spMk id="19" creationId="{5A7DDE8A-B245-7F8D-DA6F-32478A5A14BA}"/>
          </ac:spMkLst>
        </pc:spChg>
        <pc:spChg chg="mod">
          <ac:chgData name="Rachael Joseph   Transnet Property   Cape Town" userId="dcf99218-cb12-45a8-adf2-0c224119ef06" providerId="ADAL" clId="{398F5AF9-E40F-47FC-AC1A-C3DCBDFB1F91}" dt="2024-01-22T06:31:32.916" v="3789" actId="20577"/>
          <ac:spMkLst>
            <pc:docMk/>
            <pc:sldMk cId="1117199322" sldId="2082"/>
            <ac:spMk id="24" creationId="{F56F26D1-1979-4E75-BF61-3D4E4DF77D1D}"/>
          </ac:spMkLst>
        </pc:spChg>
      </pc:sldChg>
      <pc:sldChg chg="delSp modSp mod ord">
        <pc:chgData name="Rachael Joseph   Transnet Property   Cape Town" userId="dcf99218-cb12-45a8-adf2-0c224119ef06" providerId="ADAL" clId="{398F5AF9-E40F-47FC-AC1A-C3DCBDFB1F91}" dt="2024-01-22T06:07:58.881" v="3433"/>
        <pc:sldMkLst>
          <pc:docMk/>
          <pc:sldMk cId="988186050" sldId="2083"/>
        </pc:sldMkLst>
        <pc:spChg chg="mod">
          <ac:chgData name="Rachael Joseph   Transnet Property   Cape Town" userId="dcf99218-cb12-45a8-adf2-0c224119ef06" providerId="ADAL" clId="{398F5AF9-E40F-47FC-AC1A-C3DCBDFB1F91}" dt="2024-01-22T06:07:58.881" v="3433"/>
          <ac:spMkLst>
            <pc:docMk/>
            <pc:sldMk cId="988186050" sldId="2083"/>
            <ac:spMk id="2" creationId="{38C7DF0D-CF3D-BC6E-2657-3E6DE238EA93}"/>
          </ac:spMkLst>
        </pc:spChg>
        <pc:spChg chg="del mod">
          <ac:chgData name="Rachael Joseph   Transnet Property   Cape Town" userId="dcf99218-cb12-45a8-adf2-0c224119ef06" providerId="ADAL" clId="{398F5AF9-E40F-47FC-AC1A-C3DCBDFB1F91}" dt="2024-01-19T10:18:40.705" v="2195" actId="478"/>
          <ac:spMkLst>
            <pc:docMk/>
            <pc:sldMk cId="988186050" sldId="2083"/>
            <ac:spMk id="3" creationId="{6F60CCE9-4941-4C4A-AC4E-B407F41E43B2}"/>
          </ac:spMkLst>
        </pc:spChg>
        <pc:spChg chg="mod">
          <ac:chgData name="Rachael Joseph   Transnet Property   Cape Town" userId="dcf99218-cb12-45a8-adf2-0c224119ef06" providerId="ADAL" clId="{398F5AF9-E40F-47FC-AC1A-C3DCBDFB1F91}" dt="2024-01-22T06:07:44.548" v="3431" actId="1076"/>
          <ac:spMkLst>
            <pc:docMk/>
            <pc:sldMk cId="988186050" sldId="2083"/>
            <ac:spMk id="6" creationId="{0FB8D84F-D157-72FE-3FB0-980B7F80A2A4}"/>
          </ac:spMkLst>
        </pc:spChg>
        <pc:spChg chg="mod">
          <ac:chgData name="Rachael Joseph   Transnet Property   Cape Town" userId="dcf99218-cb12-45a8-adf2-0c224119ef06" providerId="ADAL" clId="{398F5AF9-E40F-47FC-AC1A-C3DCBDFB1F91}" dt="2024-01-19T08:18:53.166" v="1715" actId="20577"/>
          <ac:spMkLst>
            <pc:docMk/>
            <pc:sldMk cId="988186050" sldId="2083"/>
            <ac:spMk id="19" creationId="{5A7DDE8A-B245-7F8D-DA6F-32478A5A14BA}"/>
          </ac:spMkLst>
        </pc:spChg>
      </pc:sldChg>
      <pc:sldChg chg="add del">
        <pc:chgData name="Rachael Joseph   Transnet Property   Cape Town" userId="dcf99218-cb12-45a8-adf2-0c224119ef06" providerId="ADAL" clId="{398F5AF9-E40F-47FC-AC1A-C3DCBDFB1F91}" dt="2024-01-18T12:44:14.506" v="518" actId="47"/>
        <pc:sldMkLst>
          <pc:docMk/>
          <pc:sldMk cId="2317264030" sldId="2084"/>
        </pc:sldMkLst>
      </pc:sldChg>
      <pc:sldChg chg="modSp mod">
        <pc:chgData name="Rachael Joseph   Transnet Property   Cape Town" userId="dcf99218-cb12-45a8-adf2-0c224119ef06" providerId="ADAL" clId="{398F5AF9-E40F-47FC-AC1A-C3DCBDFB1F91}" dt="2024-01-22T06:08:58.798" v="3454"/>
        <pc:sldMkLst>
          <pc:docMk/>
          <pc:sldMk cId="2190344448" sldId="2085"/>
        </pc:sldMkLst>
        <pc:spChg chg="mod">
          <ac:chgData name="Rachael Joseph   Transnet Property   Cape Town" userId="dcf99218-cb12-45a8-adf2-0c224119ef06" providerId="ADAL" clId="{398F5AF9-E40F-47FC-AC1A-C3DCBDFB1F91}" dt="2024-01-22T06:08:58.798" v="3454"/>
          <ac:spMkLst>
            <pc:docMk/>
            <pc:sldMk cId="2190344448" sldId="2085"/>
            <ac:spMk id="2" creationId="{38C7DF0D-CF3D-BC6E-2657-3E6DE238EA93}"/>
          </ac:spMkLst>
        </pc:spChg>
      </pc:sldChg>
      <pc:sldChg chg="modSp mod">
        <pc:chgData name="Rachael Joseph   Transnet Property   Cape Town" userId="dcf99218-cb12-45a8-adf2-0c224119ef06" providerId="ADAL" clId="{398F5AF9-E40F-47FC-AC1A-C3DCBDFB1F91}" dt="2024-01-22T06:09:06.197" v="3455"/>
        <pc:sldMkLst>
          <pc:docMk/>
          <pc:sldMk cId="3913064372" sldId="2086"/>
        </pc:sldMkLst>
        <pc:spChg chg="mod">
          <ac:chgData name="Rachael Joseph   Transnet Property   Cape Town" userId="dcf99218-cb12-45a8-adf2-0c224119ef06" providerId="ADAL" clId="{398F5AF9-E40F-47FC-AC1A-C3DCBDFB1F91}" dt="2024-01-22T06:09:06.197" v="3455"/>
          <ac:spMkLst>
            <pc:docMk/>
            <pc:sldMk cId="3913064372" sldId="2086"/>
            <ac:spMk id="2" creationId="{38C7DF0D-CF3D-BC6E-2657-3E6DE238EA93}"/>
          </ac:spMkLst>
        </pc:spChg>
      </pc:sldChg>
      <pc:sldChg chg="modSp mod">
        <pc:chgData name="Rachael Joseph   Transnet Property   Cape Town" userId="dcf99218-cb12-45a8-adf2-0c224119ef06" providerId="ADAL" clId="{398F5AF9-E40F-47FC-AC1A-C3DCBDFB1F91}" dt="2024-01-22T06:09:14.077" v="3456"/>
        <pc:sldMkLst>
          <pc:docMk/>
          <pc:sldMk cId="1850526330" sldId="2087"/>
        </pc:sldMkLst>
        <pc:spChg chg="mod">
          <ac:chgData name="Rachael Joseph   Transnet Property   Cape Town" userId="dcf99218-cb12-45a8-adf2-0c224119ef06" providerId="ADAL" clId="{398F5AF9-E40F-47FC-AC1A-C3DCBDFB1F91}" dt="2024-01-22T06:09:14.077" v="3456"/>
          <ac:spMkLst>
            <pc:docMk/>
            <pc:sldMk cId="1850526330" sldId="2087"/>
            <ac:spMk id="2" creationId="{38C7DF0D-CF3D-BC6E-2657-3E6DE238EA93}"/>
          </ac:spMkLst>
        </pc:spChg>
      </pc:sldChg>
      <pc:sldChg chg="modSp mod">
        <pc:chgData name="Rachael Joseph   Transnet Property   Cape Town" userId="dcf99218-cb12-45a8-adf2-0c224119ef06" providerId="ADAL" clId="{398F5AF9-E40F-47FC-AC1A-C3DCBDFB1F91}" dt="2024-01-22T06:09:19.962" v="3457"/>
        <pc:sldMkLst>
          <pc:docMk/>
          <pc:sldMk cId="1376267717" sldId="2089"/>
        </pc:sldMkLst>
        <pc:spChg chg="mod">
          <ac:chgData name="Rachael Joseph   Transnet Property   Cape Town" userId="dcf99218-cb12-45a8-adf2-0c224119ef06" providerId="ADAL" clId="{398F5AF9-E40F-47FC-AC1A-C3DCBDFB1F91}" dt="2024-01-22T06:09:19.962" v="3457"/>
          <ac:spMkLst>
            <pc:docMk/>
            <pc:sldMk cId="1376267717" sldId="2089"/>
            <ac:spMk id="2" creationId="{38C7DF0D-CF3D-BC6E-2657-3E6DE238EA93}"/>
          </ac:spMkLst>
        </pc:spChg>
      </pc:sldChg>
      <pc:sldChg chg="addSp delSp modSp add del mod">
        <pc:chgData name="Rachael Joseph   Transnet Property   Cape Town" userId="dcf99218-cb12-45a8-adf2-0c224119ef06" providerId="ADAL" clId="{398F5AF9-E40F-47FC-AC1A-C3DCBDFB1F91}" dt="2024-01-18T14:00:30.443" v="1221" actId="47"/>
        <pc:sldMkLst>
          <pc:docMk/>
          <pc:sldMk cId="3523340888" sldId="2090"/>
        </pc:sldMkLst>
        <pc:spChg chg="del">
          <ac:chgData name="Rachael Joseph   Transnet Property   Cape Town" userId="dcf99218-cb12-45a8-adf2-0c224119ef06" providerId="ADAL" clId="{398F5AF9-E40F-47FC-AC1A-C3DCBDFB1F91}" dt="2024-01-18T13:50:31.954" v="1043" actId="478"/>
          <ac:spMkLst>
            <pc:docMk/>
            <pc:sldMk cId="3523340888" sldId="2090"/>
            <ac:spMk id="24" creationId="{F56F26D1-1979-4E75-BF61-3D4E4DF77D1D}"/>
          </ac:spMkLst>
        </pc:spChg>
        <pc:picChg chg="add del mod">
          <ac:chgData name="Rachael Joseph   Transnet Property   Cape Town" userId="dcf99218-cb12-45a8-adf2-0c224119ef06" providerId="ADAL" clId="{398F5AF9-E40F-47FC-AC1A-C3DCBDFB1F91}" dt="2024-01-18T13:58:03.052" v="1206" actId="21"/>
          <ac:picMkLst>
            <pc:docMk/>
            <pc:sldMk cId="3523340888" sldId="2090"/>
            <ac:picMk id="4" creationId="{1FE1770C-0DA7-2C6F-C41C-534B2D592008}"/>
          </ac:picMkLst>
        </pc:picChg>
      </pc:sldChg>
      <pc:sldChg chg="del">
        <pc:chgData name="Rachael Joseph   Transnet Property   Cape Town" userId="dcf99218-cb12-45a8-adf2-0c224119ef06" providerId="ADAL" clId="{398F5AF9-E40F-47FC-AC1A-C3DCBDFB1F91}" dt="2024-01-19T08:47:06.259" v="1893" actId="2696"/>
        <pc:sldMkLst>
          <pc:docMk/>
          <pc:sldMk cId="1991172185" sldId="2091"/>
        </pc:sldMkLst>
      </pc:sldChg>
      <pc:sldChg chg="addSp delSp modSp add mod">
        <pc:chgData name="Rachael Joseph   Transnet Property   Cape Town" userId="dcf99218-cb12-45a8-adf2-0c224119ef06" providerId="ADAL" clId="{398F5AF9-E40F-47FC-AC1A-C3DCBDFB1F91}" dt="2024-01-22T06:06:32.087" v="3424"/>
        <pc:sldMkLst>
          <pc:docMk/>
          <pc:sldMk cId="2253321967" sldId="2092"/>
        </pc:sldMkLst>
        <pc:spChg chg="mod">
          <ac:chgData name="Rachael Joseph   Transnet Property   Cape Town" userId="dcf99218-cb12-45a8-adf2-0c224119ef06" providerId="ADAL" clId="{398F5AF9-E40F-47FC-AC1A-C3DCBDFB1F91}" dt="2024-01-22T06:06:32.087" v="3424"/>
          <ac:spMkLst>
            <pc:docMk/>
            <pc:sldMk cId="2253321967" sldId="2092"/>
            <ac:spMk id="2" creationId="{38C7DF0D-CF3D-BC6E-2657-3E6DE238EA93}"/>
          </ac:spMkLst>
        </pc:spChg>
        <pc:spChg chg="add del mod">
          <ac:chgData name="Rachael Joseph   Transnet Property   Cape Town" userId="dcf99218-cb12-45a8-adf2-0c224119ef06" providerId="ADAL" clId="{398F5AF9-E40F-47FC-AC1A-C3DCBDFB1F91}" dt="2024-01-19T10:32:27.591" v="2418" actId="1035"/>
          <ac:spMkLst>
            <pc:docMk/>
            <pc:sldMk cId="2253321967" sldId="2092"/>
            <ac:spMk id="7" creationId="{81B0B3C5-F282-4C82-936E-92EC3B1C40C6}"/>
          </ac:spMkLst>
        </pc:spChg>
        <pc:spChg chg="add mod">
          <ac:chgData name="Rachael Joseph   Transnet Property   Cape Town" userId="dcf99218-cb12-45a8-adf2-0c224119ef06" providerId="ADAL" clId="{398F5AF9-E40F-47FC-AC1A-C3DCBDFB1F91}" dt="2024-01-19T10:32:27.591" v="2418" actId="1035"/>
          <ac:spMkLst>
            <pc:docMk/>
            <pc:sldMk cId="2253321967" sldId="2092"/>
            <ac:spMk id="15" creationId="{39712733-0381-E615-73F4-5EF87A04CD2A}"/>
          </ac:spMkLst>
        </pc:spChg>
        <pc:spChg chg="add mod">
          <ac:chgData name="Rachael Joseph   Transnet Property   Cape Town" userId="dcf99218-cb12-45a8-adf2-0c224119ef06" providerId="ADAL" clId="{398F5AF9-E40F-47FC-AC1A-C3DCBDFB1F91}" dt="2024-01-19T10:28:48.172" v="2358" actId="1035"/>
          <ac:spMkLst>
            <pc:docMk/>
            <pc:sldMk cId="2253321967" sldId="2092"/>
            <ac:spMk id="21" creationId="{1CDF850A-2CE4-F074-E066-4AD2901D795A}"/>
          </ac:spMkLst>
        </pc:spChg>
        <pc:grpChg chg="add del mod">
          <ac:chgData name="Rachael Joseph   Transnet Property   Cape Town" userId="dcf99218-cb12-45a8-adf2-0c224119ef06" providerId="ADAL" clId="{398F5AF9-E40F-47FC-AC1A-C3DCBDFB1F91}" dt="2024-01-19T10:25:05.687" v="2292" actId="165"/>
          <ac:grpSpMkLst>
            <pc:docMk/>
            <pc:sldMk cId="2253321967" sldId="2092"/>
            <ac:grpSpMk id="22" creationId="{264467A5-CA81-0803-6B81-93806B0C5A16}"/>
          </ac:grpSpMkLst>
        </pc:grpChg>
        <pc:grpChg chg="add del mod">
          <ac:chgData name="Rachael Joseph   Transnet Property   Cape Town" userId="dcf99218-cb12-45a8-adf2-0c224119ef06" providerId="ADAL" clId="{398F5AF9-E40F-47FC-AC1A-C3DCBDFB1F91}" dt="2024-01-19T10:24:25.909" v="2243" actId="165"/>
          <ac:grpSpMkLst>
            <pc:docMk/>
            <pc:sldMk cId="2253321967" sldId="2092"/>
            <ac:grpSpMk id="23" creationId="{7F9968BF-EFD1-97AA-A5C6-892D4199AB27}"/>
          </ac:grpSpMkLst>
        </pc:grpChg>
        <pc:picChg chg="add mod topLvl modCrop">
          <ac:chgData name="Rachael Joseph   Transnet Property   Cape Town" userId="dcf99218-cb12-45a8-adf2-0c224119ef06" providerId="ADAL" clId="{398F5AF9-E40F-47FC-AC1A-C3DCBDFB1F91}" dt="2024-01-19T10:38:26.353" v="2468" actId="1035"/>
          <ac:picMkLst>
            <pc:docMk/>
            <pc:sldMk cId="2253321967" sldId="2092"/>
            <ac:picMk id="4" creationId="{696897E3-B3BC-7C2D-115A-2834FA2BCAF7}"/>
          </ac:picMkLst>
        </pc:picChg>
        <pc:picChg chg="del">
          <ac:chgData name="Rachael Joseph   Transnet Property   Cape Town" userId="dcf99218-cb12-45a8-adf2-0c224119ef06" providerId="ADAL" clId="{398F5AF9-E40F-47FC-AC1A-C3DCBDFB1F91}" dt="2024-01-19T04:36:43.662" v="1341" actId="478"/>
          <ac:picMkLst>
            <pc:docMk/>
            <pc:sldMk cId="2253321967" sldId="2092"/>
            <ac:picMk id="6" creationId="{78C1E4B4-34C6-476A-A01F-66DAFDE2556E}"/>
          </ac:picMkLst>
        </pc:picChg>
        <pc:picChg chg="add mod topLvl modCrop">
          <ac:chgData name="Rachael Joseph   Transnet Property   Cape Town" userId="dcf99218-cb12-45a8-adf2-0c224119ef06" providerId="ADAL" clId="{398F5AF9-E40F-47FC-AC1A-C3DCBDFB1F91}" dt="2024-01-19T10:39:24.764" v="2474" actId="732"/>
          <ac:picMkLst>
            <pc:docMk/>
            <pc:sldMk cId="2253321967" sldId="2092"/>
            <ac:picMk id="8" creationId="{57016D46-2779-BE59-6531-A8839146844B}"/>
          </ac:picMkLst>
        </pc:picChg>
        <pc:picChg chg="add mod ord topLvl modCrop">
          <ac:chgData name="Rachael Joseph   Transnet Property   Cape Town" userId="dcf99218-cb12-45a8-adf2-0c224119ef06" providerId="ADAL" clId="{398F5AF9-E40F-47FC-AC1A-C3DCBDFB1F91}" dt="2024-01-19T10:38:29.194" v="2470" actId="1035"/>
          <ac:picMkLst>
            <pc:docMk/>
            <pc:sldMk cId="2253321967" sldId="2092"/>
            <ac:picMk id="10" creationId="{B5498EFC-DB35-8B00-EC73-90729DFF9C94}"/>
          </ac:picMkLst>
        </pc:picChg>
        <pc:picChg chg="add del mod">
          <ac:chgData name="Rachael Joseph   Transnet Property   Cape Town" userId="dcf99218-cb12-45a8-adf2-0c224119ef06" providerId="ADAL" clId="{398F5AF9-E40F-47FC-AC1A-C3DCBDFB1F91}" dt="2024-01-19T05:24:41.362" v="1423" actId="478"/>
          <ac:picMkLst>
            <pc:docMk/>
            <pc:sldMk cId="2253321967" sldId="2092"/>
            <ac:picMk id="12" creationId="{C6B1757E-75DE-D7A3-9550-54FE306A4B8E}"/>
          </ac:picMkLst>
        </pc:picChg>
        <pc:picChg chg="add mod ord topLvl modCrop">
          <ac:chgData name="Rachael Joseph   Transnet Property   Cape Town" userId="dcf99218-cb12-45a8-adf2-0c224119ef06" providerId="ADAL" clId="{398F5AF9-E40F-47FC-AC1A-C3DCBDFB1F91}" dt="2024-01-19T10:39:49.351" v="2479" actId="1035"/>
          <ac:picMkLst>
            <pc:docMk/>
            <pc:sldMk cId="2253321967" sldId="2092"/>
            <ac:picMk id="14" creationId="{791E2B63-7B3C-BFC7-44B7-B1121914F3E5}"/>
          </ac:picMkLst>
        </pc:picChg>
        <pc:picChg chg="add del mod">
          <ac:chgData name="Rachael Joseph   Transnet Property   Cape Town" userId="dcf99218-cb12-45a8-adf2-0c224119ef06" providerId="ADAL" clId="{398F5AF9-E40F-47FC-AC1A-C3DCBDFB1F91}" dt="2024-01-19T06:33:43.729" v="1475" actId="478"/>
          <ac:picMkLst>
            <pc:docMk/>
            <pc:sldMk cId="2253321967" sldId="2092"/>
            <ac:picMk id="17" creationId="{9D179F9C-BA10-1179-EE5B-5F3F98EFB54E}"/>
          </ac:picMkLst>
        </pc:picChg>
        <pc:picChg chg="add mod topLvl modCrop">
          <ac:chgData name="Rachael Joseph   Transnet Property   Cape Town" userId="dcf99218-cb12-45a8-adf2-0c224119ef06" providerId="ADAL" clId="{398F5AF9-E40F-47FC-AC1A-C3DCBDFB1F91}" dt="2024-01-19T10:38:24.295" v="2466" actId="1035"/>
          <ac:picMkLst>
            <pc:docMk/>
            <pc:sldMk cId="2253321967" sldId="2092"/>
            <ac:picMk id="20" creationId="{12E7BEB5-1269-9B11-6AF1-8114FA13BA4E}"/>
          </ac:picMkLst>
        </pc:picChg>
      </pc:sldChg>
      <pc:sldChg chg="add del">
        <pc:chgData name="Rachael Joseph   Transnet Property   Cape Town" userId="dcf99218-cb12-45a8-adf2-0c224119ef06" providerId="ADAL" clId="{398F5AF9-E40F-47FC-AC1A-C3DCBDFB1F91}" dt="2024-01-19T08:47:04.455" v="1892" actId="2890"/>
        <pc:sldMkLst>
          <pc:docMk/>
          <pc:sldMk cId="3912002886" sldId="2095"/>
        </pc:sldMkLst>
      </pc:sldChg>
      <pc:sldChg chg="addSp delSp modSp add mod">
        <pc:chgData name="Rachael Joseph   Transnet Property   Cape Town" userId="dcf99218-cb12-45a8-adf2-0c224119ef06" providerId="ADAL" clId="{398F5AF9-E40F-47FC-AC1A-C3DCBDFB1F91}" dt="2024-01-22T06:08:18.852" v="3439" actId="1038"/>
        <pc:sldMkLst>
          <pc:docMk/>
          <pc:sldMk cId="4170204537" sldId="2095"/>
        </pc:sldMkLst>
        <pc:spChg chg="mod">
          <ac:chgData name="Rachael Joseph   Transnet Property   Cape Town" userId="dcf99218-cb12-45a8-adf2-0c224119ef06" providerId="ADAL" clId="{398F5AF9-E40F-47FC-AC1A-C3DCBDFB1F91}" dt="2024-01-22T06:08:12.465" v="3436"/>
          <ac:spMkLst>
            <pc:docMk/>
            <pc:sldMk cId="4170204537" sldId="2095"/>
            <ac:spMk id="2" creationId="{38C7DF0D-CF3D-BC6E-2657-3E6DE238EA93}"/>
          </ac:spMkLst>
        </pc:spChg>
        <pc:spChg chg="del">
          <ac:chgData name="Rachael Joseph   Transnet Property   Cape Town" userId="dcf99218-cb12-45a8-adf2-0c224119ef06" providerId="ADAL" clId="{398F5AF9-E40F-47FC-AC1A-C3DCBDFB1F91}" dt="2024-01-19T10:12:44.565" v="2108" actId="478"/>
          <ac:spMkLst>
            <pc:docMk/>
            <pc:sldMk cId="4170204537" sldId="2095"/>
            <ac:spMk id="3" creationId="{6F60CCE9-4941-4C4A-AC4E-B407F41E43B2}"/>
          </ac:spMkLst>
        </pc:spChg>
        <pc:spChg chg="del mod">
          <ac:chgData name="Rachael Joseph   Transnet Property   Cape Town" userId="dcf99218-cb12-45a8-adf2-0c224119ef06" providerId="ADAL" clId="{398F5AF9-E40F-47FC-AC1A-C3DCBDFB1F91}" dt="2024-01-19T11:32:31.027" v="2591" actId="478"/>
          <ac:spMkLst>
            <pc:docMk/>
            <pc:sldMk cId="4170204537" sldId="2095"/>
            <ac:spMk id="6" creationId="{0FB8D84F-D157-72FE-3FB0-980B7F80A2A4}"/>
          </ac:spMkLst>
        </pc:spChg>
        <pc:spChg chg="add mod">
          <ac:chgData name="Rachael Joseph   Transnet Property   Cape Town" userId="dcf99218-cb12-45a8-adf2-0c224119ef06" providerId="ADAL" clId="{398F5AF9-E40F-47FC-AC1A-C3DCBDFB1F91}" dt="2024-01-19T13:28:10.761" v="3112" actId="113"/>
          <ac:spMkLst>
            <pc:docMk/>
            <pc:sldMk cId="4170204537" sldId="2095"/>
            <ac:spMk id="10" creationId="{471A73B1-B7FC-8563-4E85-9B157A66892C}"/>
          </ac:spMkLst>
        </pc:spChg>
        <pc:spChg chg="add mod">
          <ac:chgData name="Rachael Joseph   Transnet Property   Cape Town" userId="dcf99218-cb12-45a8-adf2-0c224119ef06" providerId="ADAL" clId="{398F5AF9-E40F-47FC-AC1A-C3DCBDFB1F91}" dt="2024-01-19T13:26:22.244" v="3044"/>
          <ac:spMkLst>
            <pc:docMk/>
            <pc:sldMk cId="4170204537" sldId="2095"/>
            <ac:spMk id="11" creationId="{501C027C-5D47-FDE7-9C25-6710A009EB67}"/>
          </ac:spMkLst>
        </pc:spChg>
        <pc:picChg chg="mod">
          <ac:chgData name="Rachael Joseph   Transnet Property   Cape Town" userId="dcf99218-cb12-45a8-adf2-0c224119ef06" providerId="ADAL" clId="{398F5AF9-E40F-47FC-AC1A-C3DCBDFB1F91}" dt="2024-01-22T06:08:18.852" v="3439" actId="1038"/>
          <ac:picMkLst>
            <pc:docMk/>
            <pc:sldMk cId="4170204537" sldId="2095"/>
            <ac:picMk id="4" creationId="{10C0C2B1-0A30-AAA3-CE85-02C3D42750E9}"/>
          </ac:picMkLst>
        </pc:picChg>
        <pc:picChg chg="add mod modCrop">
          <ac:chgData name="Rachael Joseph   Transnet Property   Cape Town" userId="dcf99218-cb12-45a8-adf2-0c224119ef06" providerId="ADAL" clId="{398F5AF9-E40F-47FC-AC1A-C3DCBDFB1F91}" dt="2024-01-19T12:39:31.029" v="2916" actId="1038"/>
          <ac:picMkLst>
            <pc:docMk/>
            <pc:sldMk cId="4170204537" sldId="2095"/>
            <ac:picMk id="7" creationId="{CF9C22AD-FE04-CB93-36EE-34367D1D99C7}"/>
          </ac:picMkLst>
        </pc:picChg>
        <pc:picChg chg="add mod">
          <ac:chgData name="Rachael Joseph   Transnet Property   Cape Town" userId="dcf99218-cb12-45a8-adf2-0c224119ef06" providerId="ADAL" clId="{398F5AF9-E40F-47FC-AC1A-C3DCBDFB1F91}" dt="2024-01-19T13:26:29.623" v="3050" actId="1037"/>
          <ac:picMkLst>
            <pc:docMk/>
            <pc:sldMk cId="4170204537" sldId="2095"/>
            <ac:picMk id="9" creationId="{921EA5A7-F48B-4A46-FC68-6E42A5399D47}"/>
          </ac:picMkLst>
        </pc:picChg>
      </pc:sldChg>
      <pc:sldChg chg="addSp delSp modSp add mod">
        <pc:chgData name="Rachael Joseph   Transnet Property   Cape Town" userId="dcf99218-cb12-45a8-adf2-0c224119ef06" providerId="ADAL" clId="{398F5AF9-E40F-47FC-AC1A-C3DCBDFB1F91}" dt="2024-01-22T06:08:31.597" v="3444"/>
        <pc:sldMkLst>
          <pc:docMk/>
          <pc:sldMk cId="1725775553" sldId="2096"/>
        </pc:sldMkLst>
        <pc:spChg chg="mod">
          <ac:chgData name="Rachael Joseph   Transnet Property   Cape Town" userId="dcf99218-cb12-45a8-adf2-0c224119ef06" providerId="ADAL" clId="{398F5AF9-E40F-47FC-AC1A-C3DCBDFB1F91}" dt="2024-01-22T06:08:31.597" v="3444"/>
          <ac:spMkLst>
            <pc:docMk/>
            <pc:sldMk cId="1725775553" sldId="2096"/>
            <ac:spMk id="2" creationId="{38C7DF0D-CF3D-BC6E-2657-3E6DE238EA93}"/>
          </ac:spMkLst>
        </pc:spChg>
        <pc:spChg chg="del mod">
          <ac:chgData name="Rachael Joseph   Transnet Property   Cape Town" userId="dcf99218-cb12-45a8-adf2-0c224119ef06" providerId="ADAL" clId="{398F5AF9-E40F-47FC-AC1A-C3DCBDFB1F91}" dt="2024-01-19T12:19:23.803" v="2631" actId="478"/>
          <ac:spMkLst>
            <pc:docMk/>
            <pc:sldMk cId="1725775553" sldId="2096"/>
            <ac:spMk id="6" creationId="{0FB8D84F-D157-72FE-3FB0-980B7F80A2A4}"/>
          </ac:spMkLst>
        </pc:spChg>
        <pc:spChg chg="add mod">
          <ac:chgData name="Rachael Joseph   Transnet Property   Cape Town" userId="dcf99218-cb12-45a8-adf2-0c224119ef06" providerId="ADAL" clId="{398F5AF9-E40F-47FC-AC1A-C3DCBDFB1F91}" dt="2024-01-19T13:28:04.130" v="3111" actId="113"/>
          <ac:spMkLst>
            <pc:docMk/>
            <pc:sldMk cId="1725775553" sldId="2096"/>
            <ac:spMk id="9" creationId="{CEE8C23A-9ACA-8447-1578-B7341E3911BB}"/>
          </ac:spMkLst>
        </pc:spChg>
        <pc:spChg chg="add mod">
          <ac:chgData name="Rachael Joseph   Transnet Property   Cape Town" userId="dcf99218-cb12-45a8-adf2-0c224119ef06" providerId="ADAL" clId="{398F5AF9-E40F-47FC-AC1A-C3DCBDFB1F91}" dt="2024-01-19T13:26:19.164" v="3043"/>
          <ac:spMkLst>
            <pc:docMk/>
            <pc:sldMk cId="1725775553" sldId="2096"/>
            <ac:spMk id="10" creationId="{17FA7880-FF31-DA5F-B85E-4CD1F74C005A}"/>
          </ac:spMkLst>
        </pc:spChg>
        <pc:picChg chg="mod">
          <ac:chgData name="Rachael Joseph   Transnet Property   Cape Town" userId="dcf99218-cb12-45a8-adf2-0c224119ef06" providerId="ADAL" clId="{398F5AF9-E40F-47FC-AC1A-C3DCBDFB1F91}" dt="2024-01-22T06:08:27.888" v="3443" actId="1038"/>
          <ac:picMkLst>
            <pc:docMk/>
            <pc:sldMk cId="1725775553" sldId="2096"/>
            <ac:picMk id="4" creationId="{10C0C2B1-0A30-AAA3-CE85-02C3D42750E9}"/>
          </ac:picMkLst>
        </pc:picChg>
        <pc:picChg chg="add mod">
          <ac:chgData name="Rachael Joseph   Transnet Property   Cape Town" userId="dcf99218-cb12-45a8-adf2-0c224119ef06" providerId="ADAL" clId="{398F5AF9-E40F-47FC-AC1A-C3DCBDFB1F91}" dt="2024-01-19T12:29:54.608" v="2861" actId="14100"/>
          <ac:picMkLst>
            <pc:docMk/>
            <pc:sldMk cId="1725775553" sldId="2096"/>
            <ac:picMk id="5" creationId="{EDB345F5-89FF-64B0-1056-EECE4955F33B}"/>
          </ac:picMkLst>
        </pc:picChg>
        <pc:picChg chg="mod">
          <ac:chgData name="Rachael Joseph   Transnet Property   Cape Town" userId="dcf99218-cb12-45a8-adf2-0c224119ef06" providerId="ADAL" clId="{398F5AF9-E40F-47FC-AC1A-C3DCBDFB1F91}" dt="2024-01-19T12:32:04.242" v="2896" actId="14100"/>
          <ac:picMkLst>
            <pc:docMk/>
            <pc:sldMk cId="1725775553" sldId="2096"/>
            <ac:picMk id="7" creationId="{CF9C22AD-FE04-CB93-36EE-34367D1D99C7}"/>
          </ac:picMkLst>
        </pc:picChg>
      </pc:sldChg>
      <pc:sldChg chg="addSp delSp modSp add mod">
        <pc:chgData name="Rachael Joseph   Transnet Property   Cape Town" userId="dcf99218-cb12-45a8-adf2-0c224119ef06" providerId="ADAL" clId="{398F5AF9-E40F-47FC-AC1A-C3DCBDFB1F91}" dt="2024-01-22T06:12:15.254" v="3476" actId="1038"/>
        <pc:sldMkLst>
          <pc:docMk/>
          <pc:sldMk cId="2424566592" sldId="2097"/>
        </pc:sldMkLst>
        <pc:spChg chg="mod">
          <ac:chgData name="Rachael Joseph   Transnet Property   Cape Town" userId="dcf99218-cb12-45a8-adf2-0c224119ef06" providerId="ADAL" clId="{398F5AF9-E40F-47FC-AC1A-C3DCBDFB1F91}" dt="2024-01-22T06:08:37.744" v="3445"/>
          <ac:spMkLst>
            <pc:docMk/>
            <pc:sldMk cId="2424566592" sldId="2097"/>
            <ac:spMk id="2" creationId="{38C7DF0D-CF3D-BC6E-2657-3E6DE238EA93}"/>
          </ac:spMkLst>
        </pc:spChg>
        <pc:spChg chg="del mod">
          <ac:chgData name="Rachael Joseph   Transnet Property   Cape Town" userId="dcf99218-cb12-45a8-adf2-0c224119ef06" providerId="ADAL" clId="{398F5AF9-E40F-47FC-AC1A-C3DCBDFB1F91}" dt="2024-01-19T12:20:06.363" v="2646" actId="478"/>
          <ac:spMkLst>
            <pc:docMk/>
            <pc:sldMk cId="2424566592" sldId="2097"/>
            <ac:spMk id="6" creationId="{0FB8D84F-D157-72FE-3FB0-980B7F80A2A4}"/>
          </ac:spMkLst>
        </pc:spChg>
        <pc:spChg chg="add mod">
          <ac:chgData name="Rachael Joseph   Transnet Property   Cape Town" userId="dcf99218-cb12-45a8-adf2-0c224119ef06" providerId="ADAL" clId="{398F5AF9-E40F-47FC-AC1A-C3DCBDFB1F91}" dt="2024-01-19T13:27:52.688" v="3110" actId="14100"/>
          <ac:spMkLst>
            <pc:docMk/>
            <pc:sldMk cId="2424566592" sldId="2097"/>
            <ac:spMk id="9" creationId="{C522FEBE-4B00-D5CE-67D3-1BAAD5A0340E}"/>
          </ac:spMkLst>
        </pc:spChg>
        <pc:spChg chg="add mod">
          <ac:chgData name="Rachael Joseph   Transnet Property   Cape Town" userId="dcf99218-cb12-45a8-adf2-0c224119ef06" providerId="ADAL" clId="{398F5AF9-E40F-47FC-AC1A-C3DCBDFB1F91}" dt="2024-01-19T13:26:09.416" v="3042" actId="1076"/>
          <ac:spMkLst>
            <pc:docMk/>
            <pc:sldMk cId="2424566592" sldId="2097"/>
            <ac:spMk id="10" creationId="{0722B39F-65C2-4C05-CB42-F309A2170A39}"/>
          </ac:spMkLst>
        </pc:spChg>
        <pc:picChg chg="mod">
          <ac:chgData name="Rachael Joseph   Transnet Property   Cape Town" userId="dcf99218-cb12-45a8-adf2-0c224119ef06" providerId="ADAL" clId="{398F5AF9-E40F-47FC-AC1A-C3DCBDFB1F91}" dt="2024-01-22T06:12:15.254" v="3476" actId="1038"/>
          <ac:picMkLst>
            <pc:docMk/>
            <pc:sldMk cId="2424566592" sldId="2097"/>
            <ac:picMk id="4" creationId="{10C0C2B1-0A30-AAA3-CE85-02C3D42750E9}"/>
          </ac:picMkLst>
        </pc:picChg>
        <pc:picChg chg="add mod">
          <ac:chgData name="Rachael Joseph   Transnet Property   Cape Town" userId="dcf99218-cb12-45a8-adf2-0c224119ef06" providerId="ADAL" clId="{398F5AF9-E40F-47FC-AC1A-C3DCBDFB1F91}" dt="2024-01-19T12:31:04.010" v="2880" actId="1036"/>
          <ac:picMkLst>
            <pc:docMk/>
            <pc:sldMk cId="2424566592" sldId="2097"/>
            <ac:picMk id="5" creationId="{046D01E1-30C6-5D98-B48D-E739BC313C52}"/>
          </ac:picMkLst>
        </pc:picChg>
        <pc:picChg chg="mod modCrop">
          <ac:chgData name="Rachael Joseph   Transnet Property   Cape Town" userId="dcf99218-cb12-45a8-adf2-0c224119ef06" providerId="ADAL" clId="{398F5AF9-E40F-47FC-AC1A-C3DCBDFB1F91}" dt="2024-01-19T12:40:03.792" v="2928" actId="14100"/>
          <ac:picMkLst>
            <pc:docMk/>
            <pc:sldMk cId="2424566592" sldId="2097"/>
            <ac:picMk id="7" creationId="{CF9C22AD-FE04-CB93-36EE-34367D1D99C7}"/>
          </ac:picMkLst>
        </pc:picChg>
      </pc:sldChg>
      <pc:sldChg chg="modSp mod">
        <pc:chgData name="Rachael Joseph   Transnet Property   Cape Town" userId="dcf99218-cb12-45a8-adf2-0c224119ef06" providerId="ADAL" clId="{398F5AF9-E40F-47FC-AC1A-C3DCBDFB1F91}" dt="2024-01-22T06:09:53.471" v="3463"/>
        <pc:sldMkLst>
          <pc:docMk/>
          <pc:sldMk cId="2337959193" sldId="2098"/>
        </pc:sldMkLst>
        <pc:spChg chg="mod">
          <ac:chgData name="Rachael Joseph   Transnet Property   Cape Town" userId="dcf99218-cb12-45a8-adf2-0c224119ef06" providerId="ADAL" clId="{398F5AF9-E40F-47FC-AC1A-C3DCBDFB1F91}" dt="2024-01-22T06:09:53.471" v="3463"/>
          <ac:spMkLst>
            <pc:docMk/>
            <pc:sldMk cId="2337959193" sldId="2098"/>
            <ac:spMk id="2" creationId="{29EBE23C-CABB-8709-B778-BF4488EC35A9}"/>
          </ac:spMkLst>
        </pc:spChg>
      </pc:sldChg>
      <pc:sldChg chg="modSp mod">
        <pc:chgData name="Rachael Joseph   Transnet Property   Cape Town" userId="dcf99218-cb12-45a8-adf2-0c224119ef06" providerId="ADAL" clId="{398F5AF9-E40F-47FC-AC1A-C3DCBDFB1F91}" dt="2024-01-22T06:09:47.838" v="3462"/>
        <pc:sldMkLst>
          <pc:docMk/>
          <pc:sldMk cId="2858778564" sldId="2099"/>
        </pc:sldMkLst>
        <pc:spChg chg="mod">
          <ac:chgData name="Rachael Joseph   Transnet Property   Cape Town" userId="dcf99218-cb12-45a8-adf2-0c224119ef06" providerId="ADAL" clId="{398F5AF9-E40F-47FC-AC1A-C3DCBDFB1F91}" dt="2024-01-22T06:09:47.838" v="3462"/>
          <ac:spMkLst>
            <pc:docMk/>
            <pc:sldMk cId="2858778564" sldId="2099"/>
            <ac:spMk id="2" creationId="{29EBE23C-CABB-8709-B778-BF4488EC35A9}"/>
          </ac:spMkLst>
        </pc:spChg>
      </pc:sldChg>
      <pc:sldChg chg="modSp mod">
        <pc:chgData name="Rachael Joseph   Transnet Property   Cape Town" userId="dcf99218-cb12-45a8-adf2-0c224119ef06" providerId="ADAL" clId="{398F5AF9-E40F-47FC-AC1A-C3DCBDFB1F91}" dt="2024-01-22T06:09:43.396" v="3461"/>
        <pc:sldMkLst>
          <pc:docMk/>
          <pc:sldMk cId="4019878373" sldId="2100"/>
        </pc:sldMkLst>
        <pc:spChg chg="mod">
          <ac:chgData name="Rachael Joseph   Transnet Property   Cape Town" userId="dcf99218-cb12-45a8-adf2-0c224119ef06" providerId="ADAL" clId="{398F5AF9-E40F-47FC-AC1A-C3DCBDFB1F91}" dt="2024-01-22T06:09:43.396" v="3461"/>
          <ac:spMkLst>
            <pc:docMk/>
            <pc:sldMk cId="4019878373" sldId="2100"/>
            <ac:spMk id="2" creationId="{29EBE23C-CABB-8709-B778-BF4488EC35A9}"/>
          </ac:spMkLst>
        </pc:spChg>
      </pc:sldChg>
      <pc:sldChg chg="modSp mod">
        <pc:chgData name="Rachael Joseph   Transnet Property   Cape Town" userId="dcf99218-cb12-45a8-adf2-0c224119ef06" providerId="ADAL" clId="{398F5AF9-E40F-47FC-AC1A-C3DCBDFB1F91}" dt="2024-01-22T06:09:38.036" v="3460"/>
        <pc:sldMkLst>
          <pc:docMk/>
          <pc:sldMk cId="4273976434" sldId="2101"/>
        </pc:sldMkLst>
        <pc:spChg chg="mod">
          <ac:chgData name="Rachael Joseph   Transnet Property   Cape Town" userId="dcf99218-cb12-45a8-adf2-0c224119ef06" providerId="ADAL" clId="{398F5AF9-E40F-47FC-AC1A-C3DCBDFB1F91}" dt="2024-01-22T06:09:38.036" v="3460"/>
          <ac:spMkLst>
            <pc:docMk/>
            <pc:sldMk cId="4273976434" sldId="2101"/>
            <ac:spMk id="2" creationId="{29EBE23C-CABB-8709-B778-BF4488EC35A9}"/>
          </ac:spMkLst>
        </pc:spChg>
      </pc:sldChg>
      <pc:sldChg chg="modSp mod">
        <pc:chgData name="Rachael Joseph   Transnet Property   Cape Town" userId="dcf99218-cb12-45a8-adf2-0c224119ef06" providerId="ADAL" clId="{398F5AF9-E40F-47FC-AC1A-C3DCBDFB1F91}" dt="2024-01-22T06:09:31.717" v="3459"/>
        <pc:sldMkLst>
          <pc:docMk/>
          <pc:sldMk cId="3828851222" sldId="2102"/>
        </pc:sldMkLst>
        <pc:spChg chg="mod">
          <ac:chgData name="Rachael Joseph   Transnet Property   Cape Town" userId="dcf99218-cb12-45a8-adf2-0c224119ef06" providerId="ADAL" clId="{398F5AF9-E40F-47FC-AC1A-C3DCBDFB1F91}" dt="2024-01-22T06:09:31.717" v="3459"/>
          <ac:spMkLst>
            <pc:docMk/>
            <pc:sldMk cId="3828851222" sldId="2102"/>
            <ac:spMk id="2" creationId="{8BB84398-0A80-386F-3090-3BF89D9B8FF4}"/>
          </ac:spMkLst>
        </pc:spChg>
      </pc:sldChg>
      <pc:sldChg chg="modSp mod">
        <pc:chgData name="Rachael Joseph   Transnet Property   Cape Town" userId="dcf99218-cb12-45a8-adf2-0c224119ef06" providerId="ADAL" clId="{398F5AF9-E40F-47FC-AC1A-C3DCBDFB1F91}" dt="2024-01-22T06:09:25.788" v="3458"/>
        <pc:sldMkLst>
          <pc:docMk/>
          <pc:sldMk cId="3477717531" sldId="2103"/>
        </pc:sldMkLst>
        <pc:spChg chg="mod">
          <ac:chgData name="Rachael Joseph   Transnet Property   Cape Town" userId="dcf99218-cb12-45a8-adf2-0c224119ef06" providerId="ADAL" clId="{398F5AF9-E40F-47FC-AC1A-C3DCBDFB1F91}" dt="2024-01-22T06:09:25.788" v="3458"/>
          <ac:spMkLst>
            <pc:docMk/>
            <pc:sldMk cId="3477717531" sldId="2103"/>
            <ac:spMk id="2" creationId="{38C7DF0D-CF3D-BC6E-2657-3E6DE238EA93}"/>
          </ac:spMkLst>
        </pc:spChg>
      </pc:sldChg>
      <pc:sldChg chg="addSp delSp modSp add mod">
        <pc:chgData name="Rachael Joseph   Transnet Property   Cape Town" userId="dcf99218-cb12-45a8-adf2-0c224119ef06" providerId="ADAL" clId="{398F5AF9-E40F-47FC-AC1A-C3DCBDFB1F91}" dt="2024-01-22T06:55:52.995" v="4098" actId="20577"/>
        <pc:sldMkLst>
          <pc:docMk/>
          <pc:sldMk cId="396151816" sldId="2104"/>
        </pc:sldMkLst>
        <pc:spChg chg="mod">
          <ac:chgData name="Rachael Joseph   Transnet Property   Cape Town" userId="dcf99218-cb12-45a8-adf2-0c224119ef06" providerId="ADAL" clId="{398F5AF9-E40F-47FC-AC1A-C3DCBDFB1F91}" dt="2024-01-22T06:08:43.158" v="3446"/>
          <ac:spMkLst>
            <pc:docMk/>
            <pc:sldMk cId="396151816" sldId="2104"/>
            <ac:spMk id="2" creationId="{38C7DF0D-CF3D-BC6E-2657-3E6DE238EA93}"/>
          </ac:spMkLst>
        </pc:spChg>
        <pc:spChg chg="add mod">
          <ac:chgData name="Rachael Joseph   Transnet Property   Cape Town" userId="dcf99218-cb12-45a8-adf2-0c224119ef06" providerId="ADAL" clId="{398F5AF9-E40F-47FC-AC1A-C3DCBDFB1F91}" dt="2024-01-22T05:46:42.198" v="3393"/>
          <ac:spMkLst>
            <pc:docMk/>
            <pc:sldMk cId="396151816" sldId="2104"/>
            <ac:spMk id="8" creationId="{7335A5E7-5183-B605-6256-4F4F2FCDB263}"/>
          </ac:spMkLst>
        </pc:spChg>
        <pc:spChg chg="mod">
          <ac:chgData name="Rachael Joseph   Transnet Property   Cape Town" userId="dcf99218-cb12-45a8-adf2-0c224119ef06" providerId="ADAL" clId="{398F5AF9-E40F-47FC-AC1A-C3DCBDFB1F91}" dt="2024-01-22T06:55:52.995" v="4098" actId="20577"/>
          <ac:spMkLst>
            <pc:docMk/>
            <pc:sldMk cId="396151816" sldId="2104"/>
            <ac:spMk id="9" creationId="{C522FEBE-4B00-D5CE-67D3-1BAAD5A0340E}"/>
          </ac:spMkLst>
        </pc:spChg>
        <pc:spChg chg="add del mod">
          <ac:chgData name="Rachael Joseph   Transnet Property   Cape Town" userId="dcf99218-cb12-45a8-adf2-0c224119ef06" providerId="ADAL" clId="{398F5AF9-E40F-47FC-AC1A-C3DCBDFB1F91}" dt="2024-01-19T13:29:58.806" v="3143" actId="478"/>
          <ac:spMkLst>
            <pc:docMk/>
            <pc:sldMk cId="396151816" sldId="2104"/>
            <ac:spMk id="11" creationId="{003C72E6-C7C7-81A0-3D36-E02268D82FA2}"/>
          </ac:spMkLst>
        </pc:spChg>
        <pc:spChg chg="add del mod">
          <ac:chgData name="Rachael Joseph   Transnet Property   Cape Town" userId="dcf99218-cb12-45a8-adf2-0c224119ef06" providerId="ADAL" clId="{398F5AF9-E40F-47FC-AC1A-C3DCBDFB1F91}" dt="2024-01-19T13:30:01.728" v="3144" actId="478"/>
          <ac:spMkLst>
            <pc:docMk/>
            <pc:sldMk cId="396151816" sldId="2104"/>
            <ac:spMk id="12" creationId="{E7F6411D-153E-60BC-7B2E-DC7FFDEEF9DD}"/>
          </ac:spMkLst>
        </pc:spChg>
        <pc:spChg chg="add mod">
          <ac:chgData name="Rachael Joseph   Transnet Property   Cape Town" userId="dcf99218-cb12-45a8-adf2-0c224119ef06" providerId="ADAL" clId="{398F5AF9-E40F-47FC-AC1A-C3DCBDFB1F91}" dt="2024-01-22T05:40:28.098" v="3344" actId="1036"/>
          <ac:spMkLst>
            <pc:docMk/>
            <pc:sldMk cId="396151816" sldId="2104"/>
            <ac:spMk id="13" creationId="{7F8DCCD1-AF47-2B86-8B8E-5F2CAC2DB7A2}"/>
          </ac:spMkLst>
        </pc:spChg>
        <pc:spChg chg="add mod">
          <ac:chgData name="Rachael Joseph   Transnet Property   Cape Town" userId="dcf99218-cb12-45a8-adf2-0c224119ef06" providerId="ADAL" clId="{398F5AF9-E40F-47FC-AC1A-C3DCBDFB1F91}" dt="2024-01-22T05:40:28.098" v="3344" actId="1036"/>
          <ac:spMkLst>
            <pc:docMk/>
            <pc:sldMk cId="396151816" sldId="2104"/>
            <ac:spMk id="14" creationId="{2851C341-B0AA-9A1F-FAA6-7D33C88A4BEA}"/>
          </ac:spMkLst>
        </pc:spChg>
        <pc:picChg chg="del">
          <ac:chgData name="Rachael Joseph   Transnet Property   Cape Town" userId="dcf99218-cb12-45a8-adf2-0c224119ef06" providerId="ADAL" clId="{398F5AF9-E40F-47FC-AC1A-C3DCBDFB1F91}" dt="2024-01-19T12:41:10.133" v="2930" actId="478"/>
          <ac:picMkLst>
            <pc:docMk/>
            <pc:sldMk cId="396151816" sldId="2104"/>
            <ac:picMk id="4" creationId="{10C0C2B1-0A30-AAA3-CE85-02C3D42750E9}"/>
          </ac:picMkLst>
        </pc:picChg>
        <pc:picChg chg="add del mod">
          <ac:chgData name="Rachael Joseph   Transnet Property   Cape Town" userId="dcf99218-cb12-45a8-adf2-0c224119ef06" providerId="ADAL" clId="{398F5AF9-E40F-47FC-AC1A-C3DCBDFB1F91}" dt="2024-01-22T05:38:56.454" v="3308" actId="478"/>
          <ac:picMkLst>
            <pc:docMk/>
            <pc:sldMk cId="396151816" sldId="2104"/>
            <ac:picMk id="4" creationId="{17797D64-643D-9D4F-1A2C-A7D6B4CBF522}"/>
          </ac:picMkLst>
        </pc:picChg>
        <pc:picChg chg="del">
          <ac:chgData name="Rachael Joseph   Transnet Property   Cape Town" userId="dcf99218-cb12-45a8-adf2-0c224119ef06" providerId="ADAL" clId="{398F5AF9-E40F-47FC-AC1A-C3DCBDFB1F91}" dt="2024-01-19T12:41:11.049" v="2931" actId="478"/>
          <ac:picMkLst>
            <pc:docMk/>
            <pc:sldMk cId="396151816" sldId="2104"/>
            <ac:picMk id="5" creationId="{046D01E1-30C6-5D98-B48D-E739BC313C52}"/>
          </ac:picMkLst>
        </pc:picChg>
        <pc:picChg chg="add mod">
          <ac:chgData name="Rachael Joseph   Transnet Property   Cape Town" userId="dcf99218-cb12-45a8-adf2-0c224119ef06" providerId="ADAL" clId="{398F5AF9-E40F-47FC-AC1A-C3DCBDFB1F91}" dt="2024-01-22T05:45:34.412" v="3388" actId="1440"/>
          <ac:picMkLst>
            <pc:docMk/>
            <pc:sldMk cId="396151816" sldId="2104"/>
            <ac:picMk id="6" creationId="{789F6B0C-C731-C8EA-0B42-55F0750F9557}"/>
          </ac:picMkLst>
        </pc:picChg>
        <pc:picChg chg="add mod">
          <ac:chgData name="Rachael Joseph   Transnet Property   Cape Town" userId="dcf99218-cb12-45a8-adf2-0c224119ef06" providerId="ADAL" clId="{398F5AF9-E40F-47FC-AC1A-C3DCBDFB1F91}" dt="2024-01-22T05:45:26.408" v="3387" actId="1037"/>
          <ac:picMkLst>
            <pc:docMk/>
            <pc:sldMk cId="396151816" sldId="2104"/>
            <ac:picMk id="7" creationId="{C942E115-0A2D-C4FF-2155-7B1FD9AD9E4C}"/>
          </ac:picMkLst>
        </pc:picChg>
        <pc:picChg chg="del">
          <ac:chgData name="Rachael Joseph   Transnet Property   Cape Town" userId="dcf99218-cb12-45a8-adf2-0c224119ef06" providerId="ADAL" clId="{398F5AF9-E40F-47FC-AC1A-C3DCBDFB1F91}" dt="2024-01-19T12:41:11.774" v="2932" actId="478"/>
          <ac:picMkLst>
            <pc:docMk/>
            <pc:sldMk cId="396151816" sldId="2104"/>
            <ac:picMk id="7" creationId="{CF9C22AD-FE04-CB93-36EE-34367D1D99C7}"/>
          </ac:picMkLst>
        </pc:picChg>
        <pc:picChg chg="add mod">
          <ac:chgData name="Rachael Joseph   Transnet Property   Cape Town" userId="dcf99218-cb12-45a8-adf2-0c224119ef06" providerId="ADAL" clId="{398F5AF9-E40F-47FC-AC1A-C3DCBDFB1F91}" dt="2024-01-22T05:45:37.098" v="3389" actId="1440"/>
          <ac:picMkLst>
            <pc:docMk/>
            <pc:sldMk cId="396151816" sldId="2104"/>
            <ac:picMk id="10" creationId="{301A7311-EDAE-A40D-4D0E-99A51F26CE91}"/>
          </ac:picMkLst>
        </pc:picChg>
      </pc:sldChg>
      <pc:sldChg chg="addSp delSp modSp add mod ord">
        <pc:chgData name="Rachael Joseph   Transnet Property   Cape Town" userId="dcf99218-cb12-45a8-adf2-0c224119ef06" providerId="ADAL" clId="{398F5AF9-E40F-47FC-AC1A-C3DCBDFB1F91}" dt="2024-01-22T07:42:26.618" v="4277" actId="20577"/>
        <pc:sldMkLst>
          <pc:docMk/>
          <pc:sldMk cId="602352385" sldId="2105"/>
        </pc:sldMkLst>
        <pc:spChg chg="mod">
          <ac:chgData name="Rachael Joseph   Transnet Property   Cape Town" userId="dcf99218-cb12-45a8-adf2-0c224119ef06" providerId="ADAL" clId="{398F5AF9-E40F-47FC-AC1A-C3DCBDFB1F91}" dt="2024-01-22T06:08:51.632" v="3453"/>
          <ac:spMkLst>
            <pc:docMk/>
            <pc:sldMk cId="602352385" sldId="2105"/>
            <ac:spMk id="2" creationId="{38C7DF0D-CF3D-BC6E-2657-3E6DE238EA93}"/>
          </ac:spMkLst>
        </pc:spChg>
        <pc:spChg chg="add del mod">
          <ac:chgData name="Rachael Joseph   Transnet Property   Cape Town" userId="dcf99218-cb12-45a8-adf2-0c224119ef06" providerId="ADAL" clId="{398F5AF9-E40F-47FC-AC1A-C3DCBDFB1F91}" dt="2024-01-22T07:13:41.865" v="4121" actId="478"/>
          <ac:spMkLst>
            <pc:docMk/>
            <pc:sldMk cId="602352385" sldId="2105"/>
            <ac:spMk id="4" creationId="{A5DE48DE-844E-4D97-3A60-C40F4FD65F88}"/>
          </ac:spMkLst>
        </pc:spChg>
        <pc:spChg chg="del">
          <ac:chgData name="Rachael Joseph   Transnet Property   Cape Town" userId="dcf99218-cb12-45a8-adf2-0c224119ef06" providerId="ADAL" clId="{398F5AF9-E40F-47FC-AC1A-C3DCBDFB1F91}" dt="2024-01-22T06:13:13.146" v="3510" actId="478"/>
          <ac:spMkLst>
            <pc:docMk/>
            <pc:sldMk cId="602352385" sldId="2105"/>
            <ac:spMk id="8" creationId="{7335A5E7-5183-B605-6256-4F4F2FCDB263}"/>
          </ac:spMkLst>
        </pc:spChg>
        <pc:spChg chg="mod">
          <ac:chgData name="Rachael Joseph   Transnet Property   Cape Town" userId="dcf99218-cb12-45a8-adf2-0c224119ef06" providerId="ADAL" clId="{398F5AF9-E40F-47FC-AC1A-C3DCBDFB1F91}" dt="2024-01-22T07:42:26.618" v="4277" actId="20577"/>
          <ac:spMkLst>
            <pc:docMk/>
            <pc:sldMk cId="602352385" sldId="2105"/>
            <ac:spMk id="9" creationId="{C522FEBE-4B00-D5CE-67D3-1BAAD5A0340E}"/>
          </ac:spMkLst>
        </pc:spChg>
        <pc:spChg chg="add del">
          <ac:chgData name="Rachael Joseph   Transnet Property   Cape Town" userId="dcf99218-cb12-45a8-adf2-0c224119ef06" providerId="ADAL" clId="{398F5AF9-E40F-47FC-AC1A-C3DCBDFB1F91}" dt="2024-01-22T07:13:30.640" v="4118" actId="22"/>
          <ac:spMkLst>
            <pc:docMk/>
            <pc:sldMk cId="602352385" sldId="2105"/>
            <ac:spMk id="11" creationId="{73EA7FCD-73CF-D94D-7BAA-E09844487D1B}"/>
          </ac:spMkLst>
        </pc:spChg>
        <pc:spChg chg="add mod">
          <ac:chgData name="Rachael Joseph   Transnet Property   Cape Town" userId="dcf99218-cb12-45a8-adf2-0c224119ef06" providerId="ADAL" clId="{398F5AF9-E40F-47FC-AC1A-C3DCBDFB1F91}" dt="2024-01-22T07:28:57.137" v="4266" actId="1038"/>
          <ac:spMkLst>
            <pc:docMk/>
            <pc:sldMk cId="602352385" sldId="2105"/>
            <ac:spMk id="12" creationId="{7ECF5678-F6A7-405B-476F-39A601756D37}"/>
          </ac:spMkLst>
        </pc:spChg>
        <pc:spChg chg="del">
          <ac:chgData name="Rachael Joseph   Transnet Property   Cape Town" userId="dcf99218-cb12-45a8-adf2-0c224119ef06" providerId="ADAL" clId="{398F5AF9-E40F-47FC-AC1A-C3DCBDFB1F91}" dt="2024-01-22T06:37:26.562" v="3794" actId="478"/>
          <ac:spMkLst>
            <pc:docMk/>
            <pc:sldMk cId="602352385" sldId="2105"/>
            <ac:spMk id="13" creationId="{7F8DCCD1-AF47-2B86-8B8E-5F2CAC2DB7A2}"/>
          </ac:spMkLst>
        </pc:spChg>
        <pc:spChg chg="del">
          <ac:chgData name="Rachael Joseph   Transnet Property   Cape Town" userId="dcf99218-cb12-45a8-adf2-0c224119ef06" providerId="ADAL" clId="{398F5AF9-E40F-47FC-AC1A-C3DCBDFB1F91}" dt="2024-01-22T06:13:15.167" v="3512" actId="478"/>
          <ac:spMkLst>
            <pc:docMk/>
            <pc:sldMk cId="602352385" sldId="2105"/>
            <ac:spMk id="14" creationId="{2851C341-B0AA-9A1F-FAA6-7D33C88A4BEA}"/>
          </ac:spMkLst>
        </pc:spChg>
        <pc:spChg chg="mod">
          <ac:chgData name="Rachael Joseph   Transnet Property   Cape Town" userId="dcf99218-cb12-45a8-adf2-0c224119ef06" providerId="ADAL" clId="{398F5AF9-E40F-47FC-AC1A-C3DCBDFB1F91}" dt="2024-01-22T06:05:43.347" v="3418" actId="20577"/>
          <ac:spMkLst>
            <pc:docMk/>
            <pc:sldMk cId="602352385" sldId="2105"/>
            <ac:spMk id="19" creationId="{5A7DDE8A-B245-7F8D-DA6F-32478A5A14BA}"/>
          </ac:spMkLst>
        </pc:spChg>
        <pc:graphicFrameChg chg="add del mod modGraphic">
          <ac:chgData name="Rachael Joseph   Transnet Property   Cape Town" userId="dcf99218-cb12-45a8-adf2-0c224119ef06" providerId="ADAL" clId="{398F5AF9-E40F-47FC-AC1A-C3DCBDFB1F91}" dt="2024-01-22T07:13:38.713" v="4120" actId="478"/>
          <ac:graphicFrameMkLst>
            <pc:docMk/>
            <pc:sldMk cId="602352385" sldId="2105"/>
            <ac:graphicFrameMk id="3" creationId="{FAC582A1-B4D6-F3C6-6308-FA43BDD020D3}"/>
          </ac:graphicFrameMkLst>
        </pc:graphicFrameChg>
        <pc:picChg chg="del">
          <ac:chgData name="Rachael Joseph   Transnet Property   Cape Town" userId="dcf99218-cb12-45a8-adf2-0c224119ef06" providerId="ADAL" clId="{398F5AF9-E40F-47FC-AC1A-C3DCBDFB1F91}" dt="2024-01-22T06:14:46.353" v="3580" actId="478"/>
          <ac:picMkLst>
            <pc:docMk/>
            <pc:sldMk cId="602352385" sldId="2105"/>
            <ac:picMk id="6" creationId="{789F6B0C-C731-C8EA-0B42-55F0750F9557}"/>
          </ac:picMkLst>
        </pc:picChg>
        <pc:picChg chg="del">
          <ac:chgData name="Rachael Joseph   Transnet Property   Cape Town" userId="dcf99218-cb12-45a8-adf2-0c224119ef06" providerId="ADAL" clId="{398F5AF9-E40F-47FC-AC1A-C3DCBDFB1F91}" dt="2024-01-22T06:13:11.958" v="3509" actId="478"/>
          <ac:picMkLst>
            <pc:docMk/>
            <pc:sldMk cId="602352385" sldId="2105"/>
            <ac:picMk id="7" creationId="{C942E115-0A2D-C4FF-2155-7B1FD9AD9E4C}"/>
          </ac:picMkLst>
        </pc:picChg>
        <pc:picChg chg="del">
          <ac:chgData name="Rachael Joseph   Transnet Property   Cape Town" userId="dcf99218-cb12-45a8-adf2-0c224119ef06" providerId="ADAL" clId="{398F5AF9-E40F-47FC-AC1A-C3DCBDFB1F91}" dt="2024-01-22T06:13:13.817" v="3511" actId="478"/>
          <ac:picMkLst>
            <pc:docMk/>
            <pc:sldMk cId="602352385" sldId="2105"/>
            <ac:picMk id="10" creationId="{301A7311-EDAE-A40D-4D0E-99A51F26CE91}"/>
          </ac:picMkLst>
        </pc:picChg>
      </pc:sldChg>
      <pc:sldChg chg="modSp add mod">
        <pc:chgData name="Rachael Joseph   Transnet Property   Cape Town" userId="dcf99218-cb12-45a8-adf2-0c224119ef06" providerId="ADAL" clId="{398F5AF9-E40F-47FC-AC1A-C3DCBDFB1F91}" dt="2024-01-22T11:18:23.038" v="4285" actId="20577"/>
        <pc:sldMkLst>
          <pc:docMk/>
          <pc:sldMk cId="2919385459" sldId="2106"/>
        </pc:sldMkLst>
        <pc:spChg chg="mod">
          <ac:chgData name="Rachael Joseph   Transnet Property   Cape Town" userId="dcf99218-cb12-45a8-adf2-0c224119ef06" providerId="ADAL" clId="{398F5AF9-E40F-47FC-AC1A-C3DCBDFB1F91}" dt="2024-01-22T07:29:16.730" v="4274" actId="1036"/>
          <ac:spMkLst>
            <pc:docMk/>
            <pc:sldMk cId="2919385459" sldId="2106"/>
            <ac:spMk id="9" creationId="{C522FEBE-4B00-D5CE-67D3-1BAAD5A0340E}"/>
          </ac:spMkLst>
        </pc:spChg>
        <pc:graphicFrameChg chg="mod modGraphic">
          <ac:chgData name="Rachael Joseph   Transnet Property   Cape Town" userId="dcf99218-cb12-45a8-adf2-0c224119ef06" providerId="ADAL" clId="{398F5AF9-E40F-47FC-AC1A-C3DCBDFB1F91}" dt="2024-01-22T11:18:23.038" v="4285" actId="20577"/>
          <ac:graphicFrameMkLst>
            <pc:docMk/>
            <pc:sldMk cId="2919385459" sldId="2106"/>
            <ac:graphicFrameMk id="3" creationId="{FAC582A1-B4D6-F3C6-6308-FA43BDD020D3}"/>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BFC805A-BF9C-4D10-A997-C303F1050E5E}" type="doc">
      <dgm:prSet loTypeId="urn:microsoft.com/office/officeart/2005/8/layout/process3" loCatId="process" qsTypeId="urn:microsoft.com/office/officeart/2005/8/quickstyle/simple1" qsCatId="simple" csTypeId="urn:microsoft.com/office/officeart/2005/8/colors/accent0_3" csCatId="mainScheme" phldr="1"/>
      <dgm:spPr/>
      <dgm:t>
        <a:bodyPr/>
        <a:lstStyle/>
        <a:p>
          <a:endParaRPr lang="en-ZA"/>
        </a:p>
      </dgm:t>
    </dgm:pt>
    <dgm:pt modelId="{E3B91F4C-03AC-41E9-B9E0-46AAC7A1B917}">
      <dgm:prSet phldrT="[Text]" custT="1"/>
      <dgm:spPr/>
      <dgm:t>
        <a:bodyPr/>
        <a:lstStyle/>
        <a:p>
          <a:r>
            <a:rPr lang="en-ZA" sz="1400" dirty="0"/>
            <a:t>Automation</a:t>
          </a:r>
        </a:p>
      </dgm:t>
    </dgm:pt>
    <dgm:pt modelId="{081197F4-4506-4A0E-94E0-F19341332D0A}" type="parTrans" cxnId="{9BF67A3F-EA3C-4D00-8071-7C29EE942DF6}">
      <dgm:prSet/>
      <dgm:spPr/>
      <dgm:t>
        <a:bodyPr/>
        <a:lstStyle/>
        <a:p>
          <a:endParaRPr lang="en-ZA"/>
        </a:p>
      </dgm:t>
    </dgm:pt>
    <dgm:pt modelId="{E8E8926C-FEBE-4599-81AB-46435164D89C}" type="sibTrans" cxnId="{9BF67A3F-EA3C-4D00-8071-7C29EE942DF6}">
      <dgm:prSet/>
      <dgm:spPr/>
      <dgm:t>
        <a:bodyPr/>
        <a:lstStyle/>
        <a:p>
          <a:endParaRPr lang="en-ZA"/>
        </a:p>
      </dgm:t>
    </dgm:pt>
    <dgm:pt modelId="{92F18DF3-31C9-43C4-BCC6-77C834650A0E}">
      <dgm:prSet phldrT="[Text]" custT="1"/>
      <dgm:spPr/>
      <dgm:t>
        <a:bodyPr/>
        <a:lstStyle/>
        <a:p>
          <a:r>
            <a:rPr lang="en-US" sz="1200" dirty="0"/>
            <a:t>The FMS system seeks to automate the current Fuel Receiving and Fuel Dispensing processes thereby reducing the need for manual intervention by users.</a:t>
          </a:r>
          <a:endParaRPr lang="en-ZA" sz="1200" dirty="0"/>
        </a:p>
      </dgm:t>
    </dgm:pt>
    <dgm:pt modelId="{9CE3A04A-B89B-496F-B83D-4F156EE6956F}" type="parTrans" cxnId="{A219FBAF-FE41-4F7C-9CF7-2FF19A2C7602}">
      <dgm:prSet/>
      <dgm:spPr/>
      <dgm:t>
        <a:bodyPr/>
        <a:lstStyle/>
        <a:p>
          <a:endParaRPr lang="en-ZA"/>
        </a:p>
      </dgm:t>
    </dgm:pt>
    <dgm:pt modelId="{07CA3B7C-09B4-470F-9D14-4ADC32468414}" type="sibTrans" cxnId="{A219FBAF-FE41-4F7C-9CF7-2FF19A2C7602}">
      <dgm:prSet/>
      <dgm:spPr/>
      <dgm:t>
        <a:bodyPr/>
        <a:lstStyle/>
        <a:p>
          <a:endParaRPr lang="en-ZA"/>
        </a:p>
      </dgm:t>
    </dgm:pt>
    <dgm:pt modelId="{179FF2F3-8DDC-4AC3-8E20-8F1A5586FD98}">
      <dgm:prSet phldrT="[Text]" custT="1"/>
      <dgm:spPr/>
      <dgm:t>
        <a:bodyPr/>
        <a:lstStyle/>
        <a:p>
          <a:r>
            <a:rPr lang="en-ZA" sz="1400" dirty="0"/>
            <a:t>Accuracy</a:t>
          </a:r>
        </a:p>
      </dgm:t>
    </dgm:pt>
    <dgm:pt modelId="{DF42A2D5-BC8F-4B63-96C0-5F605133575B}" type="parTrans" cxnId="{CFDCA1A4-1DD2-4CE4-B133-6AD8B96AA0EF}">
      <dgm:prSet/>
      <dgm:spPr/>
      <dgm:t>
        <a:bodyPr/>
        <a:lstStyle/>
        <a:p>
          <a:endParaRPr lang="en-ZA"/>
        </a:p>
      </dgm:t>
    </dgm:pt>
    <dgm:pt modelId="{A4ED6F3C-09F9-4682-9EB4-AA198CB97A64}" type="sibTrans" cxnId="{CFDCA1A4-1DD2-4CE4-B133-6AD8B96AA0EF}">
      <dgm:prSet/>
      <dgm:spPr/>
      <dgm:t>
        <a:bodyPr/>
        <a:lstStyle/>
        <a:p>
          <a:endParaRPr lang="en-ZA"/>
        </a:p>
      </dgm:t>
    </dgm:pt>
    <dgm:pt modelId="{BDEB9490-4030-4B28-9184-15331A41476B}">
      <dgm:prSet phldrT="[Text]" custT="1"/>
      <dgm:spPr/>
      <dgm:t>
        <a:bodyPr/>
        <a:lstStyle/>
        <a:p>
          <a:r>
            <a:rPr lang="en-US" sz="1200" dirty="0"/>
            <a:t>Accurate capture of Fuel Receiving and Dispensing transactions will be recorded and sent (via technology such as sensors) directly to the FMS database ensuring that the margin of error during capture process is reduced.</a:t>
          </a:r>
          <a:endParaRPr lang="en-ZA" sz="1200" dirty="0"/>
        </a:p>
      </dgm:t>
    </dgm:pt>
    <dgm:pt modelId="{6AF1FBBD-3FF3-417A-B0A9-0083A5D5F6DB}" type="parTrans" cxnId="{54EEE6CE-E7F3-4167-82DE-ECA56CCE95B2}">
      <dgm:prSet/>
      <dgm:spPr/>
      <dgm:t>
        <a:bodyPr/>
        <a:lstStyle/>
        <a:p>
          <a:endParaRPr lang="en-ZA"/>
        </a:p>
      </dgm:t>
    </dgm:pt>
    <dgm:pt modelId="{4CC3466E-8CAA-408E-8DA1-BEE37E2621B3}" type="sibTrans" cxnId="{54EEE6CE-E7F3-4167-82DE-ECA56CCE95B2}">
      <dgm:prSet/>
      <dgm:spPr/>
      <dgm:t>
        <a:bodyPr/>
        <a:lstStyle/>
        <a:p>
          <a:endParaRPr lang="en-ZA"/>
        </a:p>
      </dgm:t>
    </dgm:pt>
    <dgm:pt modelId="{690AE39B-9E75-4DDC-9F20-7A0D30AD9F7C}">
      <dgm:prSet phldrT="[Text]" custT="1"/>
      <dgm:spPr/>
      <dgm:t>
        <a:bodyPr/>
        <a:lstStyle/>
        <a:p>
          <a:r>
            <a:rPr lang="en-ZA" sz="1400" dirty="0"/>
            <a:t>Predictability</a:t>
          </a:r>
        </a:p>
      </dgm:t>
    </dgm:pt>
    <dgm:pt modelId="{ACD04EEF-FC9C-44E6-AFAA-B6875DCFC38E}" type="parTrans" cxnId="{08827B1D-6BB4-4B56-B065-B554CE954D9A}">
      <dgm:prSet/>
      <dgm:spPr/>
      <dgm:t>
        <a:bodyPr/>
        <a:lstStyle/>
        <a:p>
          <a:endParaRPr lang="en-ZA"/>
        </a:p>
      </dgm:t>
    </dgm:pt>
    <dgm:pt modelId="{2B7F6ED0-07EC-4347-8FCC-2FE9A105C601}" type="sibTrans" cxnId="{08827B1D-6BB4-4B56-B065-B554CE954D9A}">
      <dgm:prSet/>
      <dgm:spPr/>
      <dgm:t>
        <a:bodyPr/>
        <a:lstStyle/>
        <a:p>
          <a:endParaRPr lang="en-ZA"/>
        </a:p>
      </dgm:t>
    </dgm:pt>
    <dgm:pt modelId="{418781AF-3ED2-4177-9EF4-DD04875984C4}">
      <dgm:prSet phldrT="[Text]" custT="1"/>
      <dgm:spPr/>
      <dgm:t>
        <a:bodyPr/>
        <a:lstStyle/>
        <a:p>
          <a:r>
            <a:rPr lang="en-US" sz="1200" dirty="0"/>
            <a:t>Key areas of the business process will have embedded technology such as RFID for equipment identification and enhancing predictability of fueling cycles of equipment.</a:t>
          </a:r>
          <a:endParaRPr lang="en-ZA" sz="1200" dirty="0"/>
        </a:p>
      </dgm:t>
    </dgm:pt>
    <dgm:pt modelId="{2D7CDBC8-805C-4A4F-9AAA-04F4B3E8E8E2}" type="parTrans" cxnId="{04645574-67AA-43DE-83EE-8898472DC035}">
      <dgm:prSet/>
      <dgm:spPr/>
      <dgm:t>
        <a:bodyPr/>
        <a:lstStyle/>
        <a:p>
          <a:endParaRPr lang="en-ZA"/>
        </a:p>
      </dgm:t>
    </dgm:pt>
    <dgm:pt modelId="{1AA90F55-D3CC-4023-8844-22F8239FDB13}" type="sibTrans" cxnId="{04645574-67AA-43DE-83EE-8898472DC035}">
      <dgm:prSet/>
      <dgm:spPr/>
      <dgm:t>
        <a:bodyPr/>
        <a:lstStyle/>
        <a:p>
          <a:endParaRPr lang="en-ZA"/>
        </a:p>
      </dgm:t>
    </dgm:pt>
    <dgm:pt modelId="{D971B5E9-50A8-471B-A0FD-5F191AA24602}">
      <dgm:prSet phldrT="[Text]" custT="1"/>
      <dgm:spPr/>
      <dgm:t>
        <a:bodyPr/>
        <a:lstStyle/>
        <a:p>
          <a:r>
            <a:rPr lang="en-ZA" sz="1400" dirty="0"/>
            <a:t>Non-repudiation</a:t>
          </a:r>
        </a:p>
      </dgm:t>
    </dgm:pt>
    <dgm:pt modelId="{C399D488-C45E-4CA3-89B8-5D79996DE03D}" type="parTrans" cxnId="{F31BCCF7-991C-4E90-A078-597A9496386A}">
      <dgm:prSet/>
      <dgm:spPr/>
      <dgm:t>
        <a:bodyPr/>
        <a:lstStyle/>
        <a:p>
          <a:endParaRPr lang="en-ZA"/>
        </a:p>
      </dgm:t>
    </dgm:pt>
    <dgm:pt modelId="{97D65C25-9FB0-4E48-87D6-4364C7436304}" type="sibTrans" cxnId="{F31BCCF7-991C-4E90-A078-597A9496386A}">
      <dgm:prSet/>
      <dgm:spPr/>
      <dgm:t>
        <a:bodyPr/>
        <a:lstStyle/>
        <a:p>
          <a:endParaRPr lang="en-ZA"/>
        </a:p>
      </dgm:t>
    </dgm:pt>
    <dgm:pt modelId="{4F9FCC7D-584E-4F8E-AD65-DD0345EAE5D4}">
      <dgm:prSet phldrT="[Text]" custT="1"/>
      <dgm:spPr/>
      <dgm:t>
        <a:bodyPr/>
        <a:lstStyle/>
        <a:p>
          <a:r>
            <a:rPr lang="en-US" sz="1200" dirty="0"/>
            <a:t>The FMS will utilise biometrics at strategic areas of the business processes ensuring that there is no deniability on who performed a transaction and when it was performed. A fully automated FMS ensures that all fuel transactions are accurately conducted by authorised users and automatically recorded as such.</a:t>
          </a:r>
          <a:endParaRPr lang="en-ZA" sz="1200" dirty="0"/>
        </a:p>
      </dgm:t>
    </dgm:pt>
    <dgm:pt modelId="{D622D2DD-7CCF-4F74-8B03-186F13C3F124}" type="parTrans" cxnId="{11E290A3-8C95-4F9A-A39F-D3D5DD40F442}">
      <dgm:prSet/>
      <dgm:spPr/>
      <dgm:t>
        <a:bodyPr/>
        <a:lstStyle/>
        <a:p>
          <a:endParaRPr lang="en-ZA"/>
        </a:p>
      </dgm:t>
    </dgm:pt>
    <dgm:pt modelId="{DA4B67FE-B047-40C0-A4A3-F9C8EE3EF4C0}" type="sibTrans" cxnId="{11E290A3-8C95-4F9A-A39F-D3D5DD40F442}">
      <dgm:prSet/>
      <dgm:spPr/>
      <dgm:t>
        <a:bodyPr/>
        <a:lstStyle/>
        <a:p>
          <a:endParaRPr lang="en-ZA"/>
        </a:p>
      </dgm:t>
    </dgm:pt>
    <dgm:pt modelId="{6C8525AA-4CFB-4B94-9D49-1A4BF02EBA28}">
      <dgm:prSet phldrT="[Text]" custT="1"/>
      <dgm:spPr/>
      <dgm:t>
        <a:bodyPr/>
        <a:lstStyle/>
        <a:p>
          <a:r>
            <a:rPr lang="en-ZA" sz="1400" dirty="0"/>
            <a:t>Traceability</a:t>
          </a:r>
        </a:p>
      </dgm:t>
    </dgm:pt>
    <dgm:pt modelId="{10889D77-6DE9-402D-9D76-3E98C2E713E9}" type="parTrans" cxnId="{02D46CCE-670B-46C2-BE9F-8F1584D7FBBC}">
      <dgm:prSet/>
      <dgm:spPr/>
      <dgm:t>
        <a:bodyPr/>
        <a:lstStyle/>
        <a:p>
          <a:endParaRPr lang="en-ZA"/>
        </a:p>
      </dgm:t>
    </dgm:pt>
    <dgm:pt modelId="{F630A81C-7762-4074-AC06-B853566D860B}" type="sibTrans" cxnId="{02D46CCE-670B-46C2-BE9F-8F1584D7FBBC}">
      <dgm:prSet/>
      <dgm:spPr/>
      <dgm:t>
        <a:bodyPr/>
        <a:lstStyle/>
        <a:p>
          <a:endParaRPr lang="en-ZA"/>
        </a:p>
      </dgm:t>
    </dgm:pt>
    <dgm:pt modelId="{31A9330D-9025-4360-8BEA-4CEC744EC28C}">
      <dgm:prSet phldrT="[Text]" custT="1"/>
      <dgm:spPr/>
      <dgm:t>
        <a:bodyPr/>
        <a:lstStyle/>
        <a:p>
          <a:r>
            <a:rPr lang="en-US" sz="1200" dirty="0"/>
            <a:t>The FMS will provide an ability to identify which equipment, operator was involved in a transaction. The logging of the  operator information and Fuel attendants’ details will be done thereby enabling a secure platform to transact.</a:t>
          </a:r>
          <a:endParaRPr lang="en-ZA" sz="1200" dirty="0"/>
        </a:p>
      </dgm:t>
    </dgm:pt>
    <dgm:pt modelId="{2D8553C8-FE96-485B-9F4F-55DC1F5BEA93}" type="parTrans" cxnId="{B42A2F93-6795-4E1F-A1D2-FD6C7367B7C8}">
      <dgm:prSet/>
      <dgm:spPr/>
      <dgm:t>
        <a:bodyPr/>
        <a:lstStyle/>
        <a:p>
          <a:endParaRPr lang="en-ZA"/>
        </a:p>
      </dgm:t>
    </dgm:pt>
    <dgm:pt modelId="{294B178B-DCF7-4175-8F86-8B83BA553354}" type="sibTrans" cxnId="{B42A2F93-6795-4E1F-A1D2-FD6C7367B7C8}">
      <dgm:prSet/>
      <dgm:spPr/>
      <dgm:t>
        <a:bodyPr/>
        <a:lstStyle/>
        <a:p>
          <a:endParaRPr lang="en-ZA"/>
        </a:p>
      </dgm:t>
    </dgm:pt>
    <dgm:pt modelId="{03D11BF7-9CD5-431D-A5D7-868D87FDA386}">
      <dgm:prSet phldrT="[Text]" custT="1"/>
      <dgm:spPr/>
      <dgm:t>
        <a:bodyPr/>
        <a:lstStyle/>
        <a:p>
          <a:r>
            <a:rPr lang="en-ZA" sz="1400" dirty="0"/>
            <a:t>Integration</a:t>
          </a:r>
          <a:endParaRPr lang="en-ZA" sz="1200" dirty="0"/>
        </a:p>
      </dgm:t>
    </dgm:pt>
    <dgm:pt modelId="{7375494A-93F2-48CD-8AC3-2EA1D6EDD516}" type="parTrans" cxnId="{A7E57487-284E-4D4D-850F-F3B5D1B54007}">
      <dgm:prSet/>
      <dgm:spPr/>
      <dgm:t>
        <a:bodyPr/>
        <a:lstStyle/>
        <a:p>
          <a:endParaRPr lang="en-ZA"/>
        </a:p>
      </dgm:t>
    </dgm:pt>
    <dgm:pt modelId="{C7306AB1-AC05-4171-8EBC-9DBAA8A5453B}" type="sibTrans" cxnId="{A7E57487-284E-4D4D-850F-F3B5D1B54007}">
      <dgm:prSet/>
      <dgm:spPr/>
      <dgm:t>
        <a:bodyPr/>
        <a:lstStyle/>
        <a:p>
          <a:endParaRPr lang="en-ZA"/>
        </a:p>
      </dgm:t>
    </dgm:pt>
    <dgm:pt modelId="{A6CB26FF-3AC9-458C-9BD9-493B7935A86C}">
      <dgm:prSet phldrT="[Text]" custT="1"/>
      <dgm:spPr/>
      <dgm:t>
        <a:bodyPr/>
        <a:lstStyle/>
        <a:p>
          <a:r>
            <a:rPr lang="en-ZA" sz="1200" dirty="0"/>
            <a:t>FMS Integration into TPT Systems e.g. </a:t>
          </a:r>
          <a:r>
            <a:rPr lang="en-ZA" sz="1200" dirty="0" err="1"/>
            <a:t>PowerBI</a:t>
          </a:r>
          <a:r>
            <a:rPr lang="en-ZA" sz="1200" dirty="0"/>
            <a:t> for Dashboards, Reporting, and Analytics functionality. All of which are currently unavailable.</a:t>
          </a:r>
        </a:p>
      </dgm:t>
    </dgm:pt>
    <dgm:pt modelId="{B72FE29A-6ED3-4962-B068-9266317537FE}" type="parTrans" cxnId="{1DF8EEA9-7126-4015-B40A-8C517CC49F2E}">
      <dgm:prSet/>
      <dgm:spPr/>
      <dgm:t>
        <a:bodyPr/>
        <a:lstStyle/>
        <a:p>
          <a:endParaRPr lang="en-ZA"/>
        </a:p>
      </dgm:t>
    </dgm:pt>
    <dgm:pt modelId="{E9CA9381-A293-4F5D-9BED-CF81543FDDBD}" type="sibTrans" cxnId="{1DF8EEA9-7126-4015-B40A-8C517CC49F2E}">
      <dgm:prSet/>
      <dgm:spPr/>
      <dgm:t>
        <a:bodyPr/>
        <a:lstStyle/>
        <a:p>
          <a:endParaRPr lang="en-ZA"/>
        </a:p>
      </dgm:t>
    </dgm:pt>
    <dgm:pt modelId="{CBB05635-5CC7-472A-934B-1B9BE3664380}" type="pres">
      <dgm:prSet presAssocID="{5BFC805A-BF9C-4D10-A997-C303F1050E5E}" presName="linearFlow" presStyleCnt="0">
        <dgm:presLayoutVars>
          <dgm:dir/>
          <dgm:animLvl val="lvl"/>
          <dgm:resizeHandles val="exact"/>
        </dgm:presLayoutVars>
      </dgm:prSet>
      <dgm:spPr/>
    </dgm:pt>
    <dgm:pt modelId="{26214B32-A5B6-42FF-8212-29EC0EB6CA5E}" type="pres">
      <dgm:prSet presAssocID="{E3B91F4C-03AC-41E9-B9E0-46AAC7A1B917}" presName="composite" presStyleCnt="0"/>
      <dgm:spPr/>
    </dgm:pt>
    <dgm:pt modelId="{2B232C37-A9AB-47CF-90FC-227D3C49E3A0}" type="pres">
      <dgm:prSet presAssocID="{E3B91F4C-03AC-41E9-B9E0-46AAC7A1B917}" presName="parTx" presStyleLbl="node1" presStyleIdx="0" presStyleCnt="6">
        <dgm:presLayoutVars>
          <dgm:chMax val="0"/>
          <dgm:chPref val="0"/>
          <dgm:bulletEnabled val="1"/>
        </dgm:presLayoutVars>
      </dgm:prSet>
      <dgm:spPr/>
    </dgm:pt>
    <dgm:pt modelId="{D58DFD0C-D7B1-4C93-96CC-D485A44331AA}" type="pres">
      <dgm:prSet presAssocID="{E3B91F4C-03AC-41E9-B9E0-46AAC7A1B917}" presName="parSh" presStyleLbl="node1" presStyleIdx="0" presStyleCnt="6" custAng="0" custScaleX="292439" custScaleY="107275" custLinFactNeighborY="-68857"/>
      <dgm:spPr/>
    </dgm:pt>
    <dgm:pt modelId="{C74129C0-7161-43A0-BEB3-6B0635B5F4B6}" type="pres">
      <dgm:prSet presAssocID="{E3B91F4C-03AC-41E9-B9E0-46AAC7A1B917}" presName="desTx" presStyleLbl="fgAcc1" presStyleIdx="0" presStyleCnt="6" custAng="0" custScaleX="264860" custScaleY="107275">
        <dgm:presLayoutVars>
          <dgm:bulletEnabled val="1"/>
        </dgm:presLayoutVars>
      </dgm:prSet>
      <dgm:spPr/>
    </dgm:pt>
    <dgm:pt modelId="{783276D7-DF24-431F-A7D1-0DE04403DAD4}" type="pres">
      <dgm:prSet presAssocID="{E8E8926C-FEBE-4599-81AB-46435164D89C}" presName="sibTrans" presStyleLbl="sibTrans2D1" presStyleIdx="0" presStyleCnt="5"/>
      <dgm:spPr/>
    </dgm:pt>
    <dgm:pt modelId="{F530EA7A-3B2C-4A17-8EEC-5034BA78A24C}" type="pres">
      <dgm:prSet presAssocID="{E8E8926C-FEBE-4599-81AB-46435164D89C}" presName="connTx" presStyleLbl="sibTrans2D1" presStyleIdx="0" presStyleCnt="5"/>
      <dgm:spPr/>
    </dgm:pt>
    <dgm:pt modelId="{0F64F08C-22C1-45C3-B2B1-B080CC5C6F1A}" type="pres">
      <dgm:prSet presAssocID="{179FF2F3-8DDC-4AC3-8E20-8F1A5586FD98}" presName="composite" presStyleCnt="0"/>
      <dgm:spPr/>
    </dgm:pt>
    <dgm:pt modelId="{5FAF213B-8F95-414F-BA75-930EFFE7522B}" type="pres">
      <dgm:prSet presAssocID="{179FF2F3-8DDC-4AC3-8E20-8F1A5586FD98}" presName="parTx" presStyleLbl="node1" presStyleIdx="0" presStyleCnt="6">
        <dgm:presLayoutVars>
          <dgm:chMax val="0"/>
          <dgm:chPref val="0"/>
          <dgm:bulletEnabled val="1"/>
        </dgm:presLayoutVars>
      </dgm:prSet>
      <dgm:spPr/>
    </dgm:pt>
    <dgm:pt modelId="{2721A866-5A1C-44EC-95D4-6414BB7C0071}" type="pres">
      <dgm:prSet presAssocID="{179FF2F3-8DDC-4AC3-8E20-8F1A5586FD98}" presName="parSh" presStyleLbl="node1" presStyleIdx="1" presStyleCnt="6" custAng="0" custScaleX="292439" custScaleY="107275" custLinFactNeighborY="-68857"/>
      <dgm:spPr/>
    </dgm:pt>
    <dgm:pt modelId="{BD11E769-A807-4EA2-9C22-AFC18D247AAC}" type="pres">
      <dgm:prSet presAssocID="{179FF2F3-8DDC-4AC3-8E20-8F1A5586FD98}" presName="desTx" presStyleLbl="fgAcc1" presStyleIdx="1" presStyleCnt="6" custAng="0" custScaleX="264860" custScaleY="107275">
        <dgm:presLayoutVars>
          <dgm:bulletEnabled val="1"/>
        </dgm:presLayoutVars>
      </dgm:prSet>
      <dgm:spPr/>
    </dgm:pt>
    <dgm:pt modelId="{297B8CB8-53A5-465E-BE3F-679FB3628504}" type="pres">
      <dgm:prSet presAssocID="{A4ED6F3C-09F9-4682-9EB4-AA198CB97A64}" presName="sibTrans" presStyleLbl="sibTrans2D1" presStyleIdx="1" presStyleCnt="5"/>
      <dgm:spPr/>
    </dgm:pt>
    <dgm:pt modelId="{692BE21C-8040-4F7C-AEAD-4E5BD159AF9F}" type="pres">
      <dgm:prSet presAssocID="{A4ED6F3C-09F9-4682-9EB4-AA198CB97A64}" presName="connTx" presStyleLbl="sibTrans2D1" presStyleIdx="1" presStyleCnt="5"/>
      <dgm:spPr/>
    </dgm:pt>
    <dgm:pt modelId="{7EB94401-ECAB-472D-935F-9CCC693F5516}" type="pres">
      <dgm:prSet presAssocID="{690AE39B-9E75-4DDC-9F20-7A0D30AD9F7C}" presName="composite" presStyleCnt="0"/>
      <dgm:spPr/>
    </dgm:pt>
    <dgm:pt modelId="{7C3A9C31-6025-4FF6-9C9B-47089D42FC5C}" type="pres">
      <dgm:prSet presAssocID="{690AE39B-9E75-4DDC-9F20-7A0D30AD9F7C}" presName="parTx" presStyleLbl="node1" presStyleIdx="1" presStyleCnt="6">
        <dgm:presLayoutVars>
          <dgm:chMax val="0"/>
          <dgm:chPref val="0"/>
          <dgm:bulletEnabled val="1"/>
        </dgm:presLayoutVars>
      </dgm:prSet>
      <dgm:spPr/>
    </dgm:pt>
    <dgm:pt modelId="{6E34AD88-E8E2-4733-844E-E4A28063500B}" type="pres">
      <dgm:prSet presAssocID="{690AE39B-9E75-4DDC-9F20-7A0D30AD9F7C}" presName="parSh" presStyleLbl="node1" presStyleIdx="2" presStyleCnt="6" custAng="0" custScaleX="292439" custScaleY="107275" custLinFactNeighborY="-68857"/>
      <dgm:spPr/>
    </dgm:pt>
    <dgm:pt modelId="{5D94A8FE-C6B7-4B32-9A74-097F82DA98B5}" type="pres">
      <dgm:prSet presAssocID="{690AE39B-9E75-4DDC-9F20-7A0D30AD9F7C}" presName="desTx" presStyleLbl="fgAcc1" presStyleIdx="2" presStyleCnt="6" custAng="0" custScaleX="264860" custScaleY="107275">
        <dgm:presLayoutVars>
          <dgm:bulletEnabled val="1"/>
        </dgm:presLayoutVars>
      </dgm:prSet>
      <dgm:spPr/>
    </dgm:pt>
    <dgm:pt modelId="{F058B309-27BA-413D-858D-B35A7A9B38F8}" type="pres">
      <dgm:prSet presAssocID="{2B7F6ED0-07EC-4347-8FCC-2FE9A105C601}" presName="sibTrans" presStyleLbl="sibTrans2D1" presStyleIdx="2" presStyleCnt="5"/>
      <dgm:spPr/>
    </dgm:pt>
    <dgm:pt modelId="{6BCC9EFA-9004-4C90-AEF4-42D480306283}" type="pres">
      <dgm:prSet presAssocID="{2B7F6ED0-07EC-4347-8FCC-2FE9A105C601}" presName="connTx" presStyleLbl="sibTrans2D1" presStyleIdx="2" presStyleCnt="5"/>
      <dgm:spPr/>
    </dgm:pt>
    <dgm:pt modelId="{B7CA0B3A-679D-4F47-B99C-E190A3FE6CAC}" type="pres">
      <dgm:prSet presAssocID="{D971B5E9-50A8-471B-A0FD-5F191AA24602}" presName="composite" presStyleCnt="0"/>
      <dgm:spPr/>
    </dgm:pt>
    <dgm:pt modelId="{6E43C016-D82F-4274-B1E5-0158BBE70076}" type="pres">
      <dgm:prSet presAssocID="{D971B5E9-50A8-471B-A0FD-5F191AA24602}" presName="parTx" presStyleLbl="node1" presStyleIdx="2" presStyleCnt="6">
        <dgm:presLayoutVars>
          <dgm:chMax val="0"/>
          <dgm:chPref val="0"/>
          <dgm:bulletEnabled val="1"/>
        </dgm:presLayoutVars>
      </dgm:prSet>
      <dgm:spPr/>
    </dgm:pt>
    <dgm:pt modelId="{0EE413F0-EA8E-459D-9F16-85617323D972}" type="pres">
      <dgm:prSet presAssocID="{D971B5E9-50A8-471B-A0FD-5F191AA24602}" presName="parSh" presStyleLbl="node1" presStyleIdx="3" presStyleCnt="6" custAng="0" custScaleX="292439" custScaleY="107275" custLinFactNeighborY="-68857"/>
      <dgm:spPr/>
    </dgm:pt>
    <dgm:pt modelId="{15B4C274-4699-4957-9A69-FABED86AECAC}" type="pres">
      <dgm:prSet presAssocID="{D971B5E9-50A8-471B-A0FD-5F191AA24602}" presName="desTx" presStyleLbl="fgAcc1" presStyleIdx="3" presStyleCnt="6" custAng="0" custScaleX="264860" custScaleY="107275">
        <dgm:presLayoutVars>
          <dgm:bulletEnabled val="1"/>
        </dgm:presLayoutVars>
      </dgm:prSet>
      <dgm:spPr/>
    </dgm:pt>
    <dgm:pt modelId="{8B6540DE-DCEB-466E-83DC-895835784C94}" type="pres">
      <dgm:prSet presAssocID="{97D65C25-9FB0-4E48-87D6-4364C7436304}" presName="sibTrans" presStyleLbl="sibTrans2D1" presStyleIdx="3" presStyleCnt="5"/>
      <dgm:spPr/>
    </dgm:pt>
    <dgm:pt modelId="{F4B03361-0316-4444-ABCD-37019A3CBB85}" type="pres">
      <dgm:prSet presAssocID="{97D65C25-9FB0-4E48-87D6-4364C7436304}" presName="connTx" presStyleLbl="sibTrans2D1" presStyleIdx="3" presStyleCnt="5"/>
      <dgm:spPr/>
    </dgm:pt>
    <dgm:pt modelId="{33FAFEBF-FF58-42CA-9226-924A23536F8B}" type="pres">
      <dgm:prSet presAssocID="{6C8525AA-4CFB-4B94-9D49-1A4BF02EBA28}" presName="composite" presStyleCnt="0"/>
      <dgm:spPr/>
    </dgm:pt>
    <dgm:pt modelId="{AEEAA379-AC80-4813-BC65-ED25F9129ECA}" type="pres">
      <dgm:prSet presAssocID="{6C8525AA-4CFB-4B94-9D49-1A4BF02EBA28}" presName="parTx" presStyleLbl="node1" presStyleIdx="3" presStyleCnt="6">
        <dgm:presLayoutVars>
          <dgm:chMax val="0"/>
          <dgm:chPref val="0"/>
          <dgm:bulletEnabled val="1"/>
        </dgm:presLayoutVars>
      </dgm:prSet>
      <dgm:spPr/>
    </dgm:pt>
    <dgm:pt modelId="{49B3F252-057B-4948-ADBC-84C09F40064D}" type="pres">
      <dgm:prSet presAssocID="{6C8525AA-4CFB-4B94-9D49-1A4BF02EBA28}" presName="parSh" presStyleLbl="node1" presStyleIdx="4" presStyleCnt="6" custAng="0" custScaleX="292439" custScaleY="107275" custLinFactNeighborY="-68857"/>
      <dgm:spPr/>
    </dgm:pt>
    <dgm:pt modelId="{DCE11A48-3574-4073-8B76-48A086DE9232}" type="pres">
      <dgm:prSet presAssocID="{6C8525AA-4CFB-4B94-9D49-1A4BF02EBA28}" presName="desTx" presStyleLbl="fgAcc1" presStyleIdx="4" presStyleCnt="6" custAng="0" custScaleX="264860" custScaleY="107275">
        <dgm:presLayoutVars>
          <dgm:bulletEnabled val="1"/>
        </dgm:presLayoutVars>
      </dgm:prSet>
      <dgm:spPr/>
    </dgm:pt>
    <dgm:pt modelId="{1CC577A9-9F24-4B3E-9123-4FAA7342C186}" type="pres">
      <dgm:prSet presAssocID="{F630A81C-7762-4074-AC06-B853566D860B}" presName="sibTrans" presStyleLbl="sibTrans2D1" presStyleIdx="4" presStyleCnt="5"/>
      <dgm:spPr/>
    </dgm:pt>
    <dgm:pt modelId="{D7F13CD0-A055-4D5C-AF35-4C03B3FA2DC5}" type="pres">
      <dgm:prSet presAssocID="{F630A81C-7762-4074-AC06-B853566D860B}" presName="connTx" presStyleLbl="sibTrans2D1" presStyleIdx="4" presStyleCnt="5"/>
      <dgm:spPr/>
    </dgm:pt>
    <dgm:pt modelId="{62867BC2-57AB-486A-9513-8336FA6C32CC}" type="pres">
      <dgm:prSet presAssocID="{03D11BF7-9CD5-431D-A5D7-868D87FDA386}" presName="composite" presStyleCnt="0"/>
      <dgm:spPr/>
    </dgm:pt>
    <dgm:pt modelId="{7AA15825-B2F7-4C4E-9855-615BE0AFB3C2}" type="pres">
      <dgm:prSet presAssocID="{03D11BF7-9CD5-431D-A5D7-868D87FDA386}" presName="parTx" presStyleLbl="node1" presStyleIdx="4" presStyleCnt="6">
        <dgm:presLayoutVars>
          <dgm:chMax val="0"/>
          <dgm:chPref val="0"/>
          <dgm:bulletEnabled val="1"/>
        </dgm:presLayoutVars>
      </dgm:prSet>
      <dgm:spPr/>
    </dgm:pt>
    <dgm:pt modelId="{F5AD21BD-F9EA-4926-8DD3-C117A866EB7A}" type="pres">
      <dgm:prSet presAssocID="{03D11BF7-9CD5-431D-A5D7-868D87FDA386}" presName="parSh" presStyleLbl="node1" presStyleIdx="5" presStyleCnt="6" custScaleX="292373" custScaleY="104516" custLinFactY="-37069" custLinFactNeighborX="-6959" custLinFactNeighborY="-100000"/>
      <dgm:spPr/>
    </dgm:pt>
    <dgm:pt modelId="{E47CFF06-206C-4977-977D-40B89A4AA241}" type="pres">
      <dgm:prSet presAssocID="{03D11BF7-9CD5-431D-A5D7-868D87FDA386}" presName="desTx" presStyleLbl="fgAcc1" presStyleIdx="5" presStyleCnt="6" custScaleX="239060" custLinFactNeighborX="-23664" custLinFactNeighborY="-9854">
        <dgm:presLayoutVars>
          <dgm:bulletEnabled val="1"/>
        </dgm:presLayoutVars>
      </dgm:prSet>
      <dgm:spPr/>
    </dgm:pt>
  </dgm:ptLst>
  <dgm:cxnLst>
    <dgm:cxn modelId="{C0869709-AC9E-4785-BC99-9B4C0E874330}" type="presOf" srcId="{5BFC805A-BF9C-4D10-A997-C303F1050E5E}" destId="{CBB05635-5CC7-472A-934B-1B9BE3664380}" srcOrd="0" destOrd="0" presId="urn:microsoft.com/office/officeart/2005/8/layout/process3"/>
    <dgm:cxn modelId="{F0951113-A7BD-4C30-B26F-49EB625CC42B}" type="presOf" srcId="{E8E8926C-FEBE-4599-81AB-46435164D89C}" destId="{783276D7-DF24-431F-A7D1-0DE04403DAD4}" srcOrd="0" destOrd="0" presId="urn:microsoft.com/office/officeart/2005/8/layout/process3"/>
    <dgm:cxn modelId="{CBFA0217-EBEC-440C-ADA7-F133075657E6}" type="presOf" srcId="{97D65C25-9FB0-4E48-87D6-4364C7436304}" destId="{8B6540DE-DCEB-466E-83DC-895835784C94}" srcOrd="0" destOrd="0" presId="urn:microsoft.com/office/officeart/2005/8/layout/process3"/>
    <dgm:cxn modelId="{180F2E19-C04F-427B-9755-BA03BC0C1EB7}" type="presOf" srcId="{4F9FCC7D-584E-4F8E-AD65-DD0345EAE5D4}" destId="{15B4C274-4699-4957-9A69-FABED86AECAC}" srcOrd="0" destOrd="0" presId="urn:microsoft.com/office/officeart/2005/8/layout/process3"/>
    <dgm:cxn modelId="{08827B1D-6BB4-4B56-B065-B554CE954D9A}" srcId="{5BFC805A-BF9C-4D10-A997-C303F1050E5E}" destId="{690AE39B-9E75-4DDC-9F20-7A0D30AD9F7C}" srcOrd="2" destOrd="0" parTransId="{ACD04EEF-FC9C-44E6-AFAA-B6875DCFC38E}" sibTransId="{2B7F6ED0-07EC-4347-8FCC-2FE9A105C601}"/>
    <dgm:cxn modelId="{0528A027-0624-40A1-875A-C1D5F6315FF8}" type="presOf" srcId="{E8E8926C-FEBE-4599-81AB-46435164D89C}" destId="{F530EA7A-3B2C-4A17-8EEC-5034BA78A24C}" srcOrd="1" destOrd="0" presId="urn:microsoft.com/office/officeart/2005/8/layout/process3"/>
    <dgm:cxn modelId="{2677792B-EF3C-4ED1-9D87-925834F05236}" type="presOf" srcId="{BDEB9490-4030-4B28-9184-15331A41476B}" destId="{BD11E769-A807-4EA2-9C22-AFC18D247AAC}" srcOrd="0" destOrd="0" presId="urn:microsoft.com/office/officeart/2005/8/layout/process3"/>
    <dgm:cxn modelId="{09D10E36-1129-4103-9314-F781E9579397}" type="presOf" srcId="{F630A81C-7762-4074-AC06-B853566D860B}" destId="{D7F13CD0-A055-4D5C-AF35-4C03B3FA2DC5}" srcOrd="1" destOrd="0" presId="urn:microsoft.com/office/officeart/2005/8/layout/process3"/>
    <dgm:cxn modelId="{44F2323B-4868-4744-986A-9F30DA6CA19B}" type="presOf" srcId="{F630A81C-7762-4074-AC06-B853566D860B}" destId="{1CC577A9-9F24-4B3E-9123-4FAA7342C186}" srcOrd="0" destOrd="0" presId="urn:microsoft.com/office/officeart/2005/8/layout/process3"/>
    <dgm:cxn modelId="{9BF67A3F-EA3C-4D00-8071-7C29EE942DF6}" srcId="{5BFC805A-BF9C-4D10-A997-C303F1050E5E}" destId="{E3B91F4C-03AC-41E9-B9E0-46AAC7A1B917}" srcOrd="0" destOrd="0" parTransId="{081197F4-4506-4A0E-94E0-F19341332D0A}" sibTransId="{E8E8926C-FEBE-4599-81AB-46435164D89C}"/>
    <dgm:cxn modelId="{AD63BD3F-D6F5-4259-A546-EB78938F13C9}" type="presOf" srcId="{2B7F6ED0-07EC-4347-8FCC-2FE9A105C601}" destId="{F058B309-27BA-413D-858D-B35A7A9B38F8}" srcOrd="0" destOrd="0" presId="urn:microsoft.com/office/officeart/2005/8/layout/process3"/>
    <dgm:cxn modelId="{D2043042-9F31-4E5D-A3DE-E249DFB81F5B}" type="presOf" srcId="{D971B5E9-50A8-471B-A0FD-5F191AA24602}" destId="{6E43C016-D82F-4274-B1E5-0158BBE70076}" srcOrd="0" destOrd="0" presId="urn:microsoft.com/office/officeart/2005/8/layout/process3"/>
    <dgm:cxn modelId="{5FC26A62-583D-4F87-9583-45AC00DDF0A2}" type="presOf" srcId="{A6CB26FF-3AC9-458C-9BD9-493B7935A86C}" destId="{E47CFF06-206C-4977-977D-40B89A4AA241}" srcOrd="0" destOrd="0" presId="urn:microsoft.com/office/officeart/2005/8/layout/process3"/>
    <dgm:cxn modelId="{EA4BD843-3FE4-4E9A-BFB3-3999384BF5C7}" type="presOf" srcId="{E3B91F4C-03AC-41E9-B9E0-46AAC7A1B917}" destId="{D58DFD0C-D7B1-4C93-96CC-D485A44331AA}" srcOrd="1" destOrd="0" presId="urn:microsoft.com/office/officeart/2005/8/layout/process3"/>
    <dgm:cxn modelId="{B262296A-00D3-41DC-9DBC-EEAF7E2D706B}" type="presOf" srcId="{6C8525AA-4CFB-4B94-9D49-1A4BF02EBA28}" destId="{49B3F252-057B-4948-ADBC-84C09F40064D}" srcOrd="1" destOrd="0" presId="urn:microsoft.com/office/officeart/2005/8/layout/process3"/>
    <dgm:cxn modelId="{27AB1F4F-2865-4C38-9F6F-4AB939374A9E}" type="presOf" srcId="{E3B91F4C-03AC-41E9-B9E0-46AAC7A1B917}" destId="{2B232C37-A9AB-47CF-90FC-227D3C49E3A0}" srcOrd="0" destOrd="0" presId="urn:microsoft.com/office/officeart/2005/8/layout/process3"/>
    <dgm:cxn modelId="{B8A8D76F-0B78-4313-B8A2-37AB4BB24745}" type="presOf" srcId="{179FF2F3-8DDC-4AC3-8E20-8F1A5586FD98}" destId="{2721A866-5A1C-44EC-95D4-6414BB7C0071}" srcOrd="1" destOrd="0" presId="urn:microsoft.com/office/officeart/2005/8/layout/process3"/>
    <dgm:cxn modelId="{04645574-67AA-43DE-83EE-8898472DC035}" srcId="{690AE39B-9E75-4DDC-9F20-7A0D30AD9F7C}" destId="{418781AF-3ED2-4177-9EF4-DD04875984C4}" srcOrd="0" destOrd="0" parTransId="{2D7CDBC8-805C-4A4F-9AAA-04F4B3E8E8E2}" sibTransId="{1AA90F55-D3CC-4023-8844-22F8239FDB13}"/>
    <dgm:cxn modelId="{721EE657-4D81-46D3-A738-A53E2B57A69B}" type="presOf" srcId="{418781AF-3ED2-4177-9EF4-DD04875984C4}" destId="{5D94A8FE-C6B7-4B32-9A74-097F82DA98B5}" srcOrd="0" destOrd="0" presId="urn:microsoft.com/office/officeart/2005/8/layout/process3"/>
    <dgm:cxn modelId="{A7E57487-284E-4D4D-850F-F3B5D1B54007}" srcId="{5BFC805A-BF9C-4D10-A997-C303F1050E5E}" destId="{03D11BF7-9CD5-431D-A5D7-868D87FDA386}" srcOrd="5" destOrd="0" parTransId="{7375494A-93F2-48CD-8AC3-2EA1D6EDD516}" sibTransId="{C7306AB1-AC05-4171-8EBC-9DBAA8A5453B}"/>
    <dgm:cxn modelId="{58BD8C89-91D0-4C55-8A39-CF16036898A0}" type="presOf" srcId="{179FF2F3-8DDC-4AC3-8E20-8F1A5586FD98}" destId="{5FAF213B-8F95-414F-BA75-930EFFE7522B}" srcOrd="0" destOrd="0" presId="urn:microsoft.com/office/officeart/2005/8/layout/process3"/>
    <dgm:cxn modelId="{B42A2F93-6795-4E1F-A1D2-FD6C7367B7C8}" srcId="{6C8525AA-4CFB-4B94-9D49-1A4BF02EBA28}" destId="{31A9330D-9025-4360-8BEA-4CEC744EC28C}" srcOrd="0" destOrd="0" parTransId="{2D8553C8-FE96-485B-9F4F-55DC1F5BEA93}" sibTransId="{294B178B-DCF7-4175-8F86-8B83BA553354}"/>
    <dgm:cxn modelId="{0F11B099-BD23-45AB-A4A1-A1E077EBC903}" type="presOf" srcId="{A4ED6F3C-09F9-4682-9EB4-AA198CB97A64}" destId="{297B8CB8-53A5-465E-BE3F-679FB3628504}" srcOrd="0" destOrd="0" presId="urn:microsoft.com/office/officeart/2005/8/layout/process3"/>
    <dgm:cxn modelId="{11E290A3-8C95-4F9A-A39F-D3D5DD40F442}" srcId="{D971B5E9-50A8-471B-A0FD-5F191AA24602}" destId="{4F9FCC7D-584E-4F8E-AD65-DD0345EAE5D4}" srcOrd="0" destOrd="0" parTransId="{D622D2DD-7CCF-4F74-8B03-186F13C3F124}" sibTransId="{DA4B67FE-B047-40C0-A4A3-F9C8EE3EF4C0}"/>
    <dgm:cxn modelId="{CFDCA1A4-1DD2-4CE4-B133-6AD8B96AA0EF}" srcId="{5BFC805A-BF9C-4D10-A997-C303F1050E5E}" destId="{179FF2F3-8DDC-4AC3-8E20-8F1A5586FD98}" srcOrd="1" destOrd="0" parTransId="{DF42A2D5-BC8F-4B63-96C0-5F605133575B}" sibTransId="{A4ED6F3C-09F9-4682-9EB4-AA198CB97A64}"/>
    <dgm:cxn modelId="{1DF8EEA9-7126-4015-B40A-8C517CC49F2E}" srcId="{03D11BF7-9CD5-431D-A5D7-868D87FDA386}" destId="{A6CB26FF-3AC9-458C-9BD9-493B7935A86C}" srcOrd="0" destOrd="0" parTransId="{B72FE29A-6ED3-4962-B068-9266317537FE}" sibTransId="{E9CA9381-A293-4F5D-9BED-CF81543FDDBD}"/>
    <dgm:cxn modelId="{A219FBAF-FE41-4F7C-9CF7-2FF19A2C7602}" srcId="{E3B91F4C-03AC-41E9-B9E0-46AAC7A1B917}" destId="{92F18DF3-31C9-43C4-BCC6-77C834650A0E}" srcOrd="0" destOrd="0" parTransId="{9CE3A04A-B89B-496F-B83D-4F156EE6956F}" sibTransId="{07CA3B7C-09B4-470F-9D14-4ADC32468414}"/>
    <dgm:cxn modelId="{A43CECB5-53F4-4A97-AF65-6257F49606CD}" type="presOf" srcId="{97D65C25-9FB0-4E48-87D6-4364C7436304}" destId="{F4B03361-0316-4444-ABCD-37019A3CBB85}" srcOrd="1" destOrd="0" presId="urn:microsoft.com/office/officeart/2005/8/layout/process3"/>
    <dgm:cxn modelId="{DD105DB9-6572-4D10-8FC3-94227166AB4F}" type="presOf" srcId="{690AE39B-9E75-4DDC-9F20-7A0D30AD9F7C}" destId="{7C3A9C31-6025-4FF6-9C9B-47089D42FC5C}" srcOrd="0" destOrd="0" presId="urn:microsoft.com/office/officeart/2005/8/layout/process3"/>
    <dgm:cxn modelId="{8B89EFC3-3B9E-4EE0-B608-19DAA6964D98}" type="presOf" srcId="{6C8525AA-4CFB-4B94-9D49-1A4BF02EBA28}" destId="{AEEAA379-AC80-4813-BC65-ED25F9129ECA}" srcOrd="0" destOrd="0" presId="urn:microsoft.com/office/officeart/2005/8/layout/process3"/>
    <dgm:cxn modelId="{02D46CCE-670B-46C2-BE9F-8F1584D7FBBC}" srcId="{5BFC805A-BF9C-4D10-A997-C303F1050E5E}" destId="{6C8525AA-4CFB-4B94-9D49-1A4BF02EBA28}" srcOrd="4" destOrd="0" parTransId="{10889D77-6DE9-402D-9D76-3E98C2E713E9}" sibTransId="{F630A81C-7762-4074-AC06-B853566D860B}"/>
    <dgm:cxn modelId="{54EEE6CE-E7F3-4167-82DE-ECA56CCE95B2}" srcId="{179FF2F3-8DDC-4AC3-8E20-8F1A5586FD98}" destId="{BDEB9490-4030-4B28-9184-15331A41476B}" srcOrd="0" destOrd="0" parTransId="{6AF1FBBD-3FF3-417A-B0A9-0083A5D5F6DB}" sibTransId="{4CC3466E-8CAA-408E-8DA1-BEE37E2621B3}"/>
    <dgm:cxn modelId="{0D8215D8-E7B5-40F7-AB09-9F25508E2448}" type="presOf" srcId="{92F18DF3-31C9-43C4-BCC6-77C834650A0E}" destId="{C74129C0-7161-43A0-BEB3-6B0635B5F4B6}" srcOrd="0" destOrd="0" presId="urn:microsoft.com/office/officeart/2005/8/layout/process3"/>
    <dgm:cxn modelId="{13A77DE1-D022-4ED4-A943-B31EA94565AD}" type="presOf" srcId="{31A9330D-9025-4360-8BEA-4CEC744EC28C}" destId="{DCE11A48-3574-4073-8B76-48A086DE9232}" srcOrd="0" destOrd="0" presId="urn:microsoft.com/office/officeart/2005/8/layout/process3"/>
    <dgm:cxn modelId="{38967DE2-3FDE-42DD-AB1E-D01E2BB60865}" type="presOf" srcId="{03D11BF7-9CD5-431D-A5D7-868D87FDA386}" destId="{7AA15825-B2F7-4C4E-9855-615BE0AFB3C2}" srcOrd="0" destOrd="0" presId="urn:microsoft.com/office/officeart/2005/8/layout/process3"/>
    <dgm:cxn modelId="{D31A5EEA-E064-4CBA-9F43-0C5BC29ED6DA}" type="presOf" srcId="{2B7F6ED0-07EC-4347-8FCC-2FE9A105C601}" destId="{6BCC9EFA-9004-4C90-AEF4-42D480306283}" srcOrd="1" destOrd="0" presId="urn:microsoft.com/office/officeart/2005/8/layout/process3"/>
    <dgm:cxn modelId="{81519AEB-3567-461D-BAF2-2BBAFB3E3DDF}" type="presOf" srcId="{690AE39B-9E75-4DDC-9F20-7A0D30AD9F7C}" destId="{6E34AD88-E8E2-4733-844E-E4A28063500B}" srcOrd="1" destOrd="0" presId="urn:microsoft.com/office/officeart/2005/8/layout/process3"/>
    <dgm:cxn modelId="{17237FED-4BFB-4ABC-9038-AF77590D10C7}" type="presOf" srcId="{03D11BF7-9CD5-431D-A5D7-868D87FDA386}" destId="{F5AD21BD-F9EA-4926-8DD3-C117A866EB7A}" srcOrd="1" destOrd="0" presId="urn:microsoft.com/office/officeart/2005/8/layout/process3"/>
    <dgm:cxn modelId="{3E6584EE-3CE1-404B-AA21-3E39FD757677}" type="presOf" srcId="{D971B5E9-50A8-471B-A0FD-5F191AA24602}" destId="{0EE413F0-EA8E-459D-9F16-85617323D972}" srcOrd="1" destOrd="0" presId="urn:microsoft.com/office/officeart/2005/8/layout/process3"/>
    <dgm:cxn modelId="{A78FB4F4-0E56-4AC5-9E4B-57FB169DEDB1}" type="presOf" srcId="{A4ED6F3C-09F9-4682-9EB4-AA198CB97A64}" destId="{692BE21C-8040-4F7C-AEAD-4E5BD159AF9F}" srcOrd="1" destOrd="0" presId="urn:microsoft.com/office/officeart/2005/8/layout/process3"/>
    <dgm:cxn modelId="{F31BCCF7-991C-4E90-A078-597A9496386A}" srcId="{5BFC805A-BF9C-4D10-A997-C303F1050E5E}" destId="{D971B5E9-50A8-471B-A0FD-5F191AA24602}" srcOrd="3" destOrd="0" parTransId="{C399D488-C45E-4CA3-89B8-5D79996DE03D}" sibTransId="{97D65C25-9FB0-4E48-87D6-4364C7436304}"/>
    <dgm:cxn modelId="{D0FE9215-90BF-452B-8E0C-D932BAA6F867}" type="presParOf" srcId="{CBB05635-5CC7-472A-934B-1B9BE3664380}" destId="{26214B32-A5B6-42FF-8212-29EC0EB6CA5E}" srcOrd="0" destOrd="0" presId="urn:microsoft.com/office/officeart/2005/8/layout/process3"/>
    <dgm:cxn modelId="{1264D55A-1831-4994-B212-673FF283F229}" type="presParOf" srcId="{26214B32-A5B6-42FF-8212-29EC0EB6CA5E}" destId="{2B232C37-A9AB-47CF-90FC-227D3C49E3A0}" srcOrd="0" destOrd="0" presId="urn:microsoft.com/office/officeart/2005/8/layout/process3"/>
    <dgm:cxn modelId="{77235768-0F95-42F0-8299-CB514EBB00E0}" type="presParOf" srcId="{26214B32-A5B6-42FF-8212-29EC0EB6CA5E}" destId="{D58DFD0C-D7B1-4C93-96CC-D485A44331AA}" srcOrd="1" destOrd="0" presId="urn:microsoft.com/office/officeart/2005/8/layout/process3"/>
    <dgm:cxn modelId="{3E84887E-A184-4E32-BBFA-84864C9A9324}" type="presParOf" srcId="{26214B32-A5B6-42FF-8212-29EC0EB6CA5E}" destId="{C74129C0-7161-43A0-BEB3-6B0635B5F4B6}" srcOrd="2" destOrd="0" presId="urn:microsoft.com/office/officeart/2005/8/layout/process3"/>
    <dgm:cxn modelId="{FE62DB2A-2468-4CD2-B4EC-6C757F899151}" type="presParOf" srcId="{CBB05635-5CC7-472A-934B-1B9BE3664380}" destId="{783276D7-DF24-431F-A7D1-0DE04403DAD4}" srcOrd="1" destOrd="0" presId="urn:microsoft.com/office/officeart/2005/8/layout/process3"/>
    <dgm:cxn modelId="{611B93F4-82F0-4B47-A5AC-1B1603FD5A11}" type="presParOf" srcId="{783276D7-DF24-431F-A7D1-0DE04403DAD4}" destId="{F530EA7A-3B2C-4A17-8EEC-5034BA78A24C}" srcOrd="0" destOrd="0" presId="urn:microsoft.com/office/officeart/2005/8/layout/process3"/>
    <dgm:cxn modelId="{7BC47B1F-CD3A-4530-A537-49DBD45712B8}" type="presParOf" srcId="{CBB05635-5CC7-472A-934B-1B9BE3664380}" destId="{0F64F08C-22C1-45C3-B2B1-B080CC5C6F1A}" srcOrd="2" destOrd="0" presId="urn:microsoft.com/office/officeart/2005/8/layout/process3"/>
    <dgm:cxn modelId="{DBFEACBB-F60E-4BAC-B067-5E2DFCA0B36F}" type="presParOf" srcId="{0F64F08C-22C1-45C3-B2B1-B080CC5C6F1A}" destId="{5FAF213B-8F95-414F-BA75-930EFFE7522B}" srcOrd="0" destOrd="0" presId="urn:microsoft.com/office/officeart/2005/8/layout/process3"/>
    <dgm:cxn modelId="{7A2EE7B8-F563-4FE6-96E7-F137F47FF0AA}" type="presParOf" srcId="{0F64F08C-22C1-45C3-B2B1-B080CC5C6F1A}" destId="{2721A866-5A1C-44EC-95D4-6414BB7C0071}" srcOrd="1" destOrd="0" presId="urn:microsoft.com/office/officeart/2005/8/layout/process3"/>
    <dgm:cxn modelId="{85ACBFC3-79CF-4A7B-9581-4492686AC240}" type="presParOf" srcId="{0F64F08C-22C1-45C3-B2B1-B080CC5C6F1A}" destId="{BD11E769-A807-4EA2-9C22-AFC18D247AAC}" srcOrd="2" destOrd="0" presId="urn:microsoft.com/office/officeart/2005/8/layout/process3"/>
    <dgm:cxn modelId="{DCF95AB5-20BB-40CA-B1A3-5FA1C896CC9C}" type="presParOf" srcId="{CBB05635-5CC7-472A-934B-1B9BE3664380}" destId="{297B8CB8-53A5-465E-BE3F-679FB3628504}" srcOrd="3" destOrd="0" presId="urn:microsoft.com/office/officeart/2005/8/layout/process3"/>
    <dgm:cxn modelId="{D0DC3BD9-FCCE-4514-9859-45D0F8F3EABA}" type="presParOf" srcId="{297B8CB8-53A5-465E-BE3F-679FB3628504}" destId="{692BE21C-8040-4F7C-AEAD-4E5BD159AF9F}" srcOrd="0" destOrd="0" presId="urn:microsoft.com/office/officeart/2005/8/layout/process3"/>
    <dgm:cxn modelId="{3C04A207-147A-43D5-BC07-AF486BCF6C2C}" type="presParOf" srcId="{CBB05635-5CC7-472A-934B-1B9BE3664380}" destId="{7EB94401-ECAB-472D-935F-9CCC693F5516}" srcOrd="4" destOrd="0" presId="urn:microsoft.com/office/officeart/2005/8/layout/process3"/>
    <dgm:cxn modelId="{601FC79B-25A4-4FD4-A149-979E37E20A5C}" type="presParOf" srcId="{7EB94401-ECAB-472D-935F-9CCC693F5516}" destId="{7C3A9C31-6025-4FF6-9C9B-47089D42FC5C}" srcOrd="0" destOrd="0" presId="urn:microsoft.com/office/officeart/2005/8/layout/process3"/>
    <dgm:cxn modelId="{1A413C15-794F-45D4-A350-A49B4702AFCE}" type="presParOf" srcId="{7EB94401-ECAB-472D-935F-9CCC693F5516}" destId="{6E34AD88-E8E2-4733-844E-E4A28063500B}" srcOrd="1" destOrd="0" presId="urn:microsoft.com/office/officeart/2005/8/layout/process3"/>
    <dgm:cxn modelId="{4B6BA2F9-8379-40B1-A257-7F84A0BE312E}" type="presParOf" srcId="{7EB94401-ECAB-472D-935F-9CCC693F5516}" destId="{5D94A8FE-C6B7-4B32-9A74-097F82DA98B5}" srcOrd="2" destOrd="0" presId="urn:microsoft.com/office/officeart/2005/8/layout/process3"/>
    <dgm:cxn modelId="{17F1A5BC-9A4A-463B-A282-C279B10B78BE}" type="presParOf" srcId="{CBB05635-5CC7-472A-934B-1B9BE3664380}" destId="{F058B309-27BA-413D-858D-B35A7A9B38F8}" srcOrd="5" destOrd="0" presId="urn:microsoft.com/office/officeart/2005/8/layout/process3"/>
    <dgm:cxn modelId="{EED7EA65-D46B-47CD-A75C-D910AA12CC52}" type="presParOf" srcId="{F058B309-27BA-413D-858D-B35A7A9B38F8}" destId="{6BCC9EFA-9004-4C90-AEF4-42D480306283}" srcOrd="0" destOrd="0" presId="urn:microsoft.com/office/officeart/2005/8/layout/process3"/>
    <dgm:cxn modelId="{5295B022-9B0F-4EA7-8729-C8CB03EA67E7}" type="presParOf" srcId="{CBB05635-5CC7-472A-934B-1B9BE3664380}" destId="{B7CA0B3A-679D-4F47-B99C-E190A3FE6CAC}" srcOrd="6" destOrd="0" presId="urn:microsoft.com/office/officeart/2005/8/layout/process3"/>
    <dgm:cxn modelId="{123815E4-EEB9-433B-93A4-912C63F41BB1}" type="presParOf" srcId="{B7CA0B3A-679D-4F47-B99C-E190A3FE6CAC}" destId="{6E43C016-D82F-4274-B1E5-0158BBE70076}" srcOrd="0" destOrd="0" presId="urn:microsoft.com/office/officeart/2005/8/layout/process3"/>
    <dgm:cxn modelId="{140E27B6-8ADB-4D99-810C-08C38A06F0F6}" type="presParOf" srcId="{B7CA0B3A-679D-4F47-B99C-E190A3FE6CAC}" destId="{0EE413F0-EA8E-459D-9F16-85617323D972}" srcOrd="1" destOrd="0" presId="urn:microsoft.com/office/officeart/2005/8/layout/process3"/>
    <dgm:cxn modelId="{1CACFC0C-D5DD-4893-AA7F-C16757098EB0}" type="presParOf" srcId="{B7CA0B3A-679D-4F47-B99C-E190A3FE6CAC}" destId="{15B4C274-4699-4957-9A69-FABED86AECAC}" srcOrd="2" destOrd="0" presId="urn:microsoft.com/office/officeart/2005/8/layout/process3"/>
    <dgm:cxn modelId="{537B2680-1A0C-405B-8589-E0CAAD6F66C3}" type="presParOf" srcId="{CBB05635-5CC7-472A-934B-1B9BE3664380}" destId="{8B6540DE-DCEB-466E-83DC-895835784C94}" srcOrd="7" destOrd="0" presId="urn:microsoft.com/office/officeart/2005/8/layout/process3"/>
    <dgm:cxn modelId="{11E765F5-127E-41A6-898A-D43F8D49D6C7}" type="presParOf" srcId="{8B6540DE-DCEB-466E-83DC-895835784C94}" destId="{F4B03361-0316-4444-ABCD-37019A3CBB85}" srcOrd="0" destOrd="0" presId="urn:microsoft.com/office/officeart/2005/8/layout/process3"/>
    <dgm:cxn modelId="{ED85D56E-5AC8-4C2B-85CB-3456B3489CC8}" type="presParOf" srcId="{CBB05635-5CC7-472A-934B-1B9BE3664380}" destId="{33FAFEBF-FF58-42CA-9226-924A23536F8B}" srcOrd="8" destOrd="0" presId="urn:microsoft.com/office/officeart/2005/8/layout/process3"/>
    <dgm:cxn modelId="{B0C58399-F6EB-44E2-95F8-B68D0298F13F}" type="presParOf" srcId="{33FAFEBF-FF58-42CA-9226-924A23536F8B}" destId="{AEEAA379-AC80-4813-BC65-ED25F9129ECA}" srcOrd="0" destOrd="0" presId="urn:microsoft.com/office/officeart/2005/8/layout/process3"/>
    <dgm:cxn modelId="{52B17635-6B46-479A-80B1-90DD0D714E82}" type="presParOf" srcId="{33FAFEBF-FF58-42CA-9226-924A23536F8B}" destId="{49B3F252-057B-4948-ADBC-84C09F40064D}" srcOrd="1" destOrd="0" presId="urn:microsoft.com/office/officeart/2005/8/layout/process3"/>
    <dgm:cxn modelId="{52E3D786-2F34-476F-949C-4C899FC69C1D}" type="presParOf" srcId="{33FAFEBF-FF58-42CA-9226-924A23536F8B}" destId="{DCE11A48-3574-4073-8B76-48A086DE9232}" srcOrd="2" destOrd="0" presId="urn:microsoft.com/office/officeart/2005/8/layout/process3"/>
    <dgm:cxn modelId="{B99D2601-BA91-40B7-8F10-8A31DE8BE10C}" type="presParOf" srcId="{CBB05635-5CC7-472A-934B-1B9BE3664380}" destId="{1CC577A9-9F24-4B3E-9123-4FAA7342C186}" srcOrd="9" destOrd="0" presId="urn:microsoft.com/office/officeart/2005/8/layout/process3"/>
    <dgm:cxn modelId="{CA7C2A91-039A-4767-96E1-D12BF78E9E5D}" type="presParOf" srcId="{1CC577A9-9F24-4B3E-9123-4FAA7342C186}" destId="{D7F13CD0-A055-4D5C-AF35-4C03B3FA2DC5}" srcOrd="0" destOrd="0" presId="urn:microsoft.com/office/officeart/2005/8/layout/process3"/>
    <dgm:cxn modelId="{56EBA4E7-5CD6-4990-A059-82DA52C64B8D}" type="presParOf" srcId="{CBB05635-5CC7-472A-934B-1B9BE3664380}" destId="{62867BC2-57AB-486A-9513-8336FA6C32CC}" srcOrd="10" destOrd="0" presId="urn:microsoft.com/office/officeart/2005/8/layout/process3"/>
    <dgm:cxn modelId="{43B31B3A-75C8-4F83-9091-94E4CEC0F3B0}" type="presParOf" srcId="{62867BC2-57AB-486A-9513-8336FA6C32CC}" destId="{7AA15825-B2F7-4C4E-9855-615BE0AFB3C2}" srcOrd="0" destOrd="0" presId="urn:microsoft.com/office/officeart/2005/8/layout/process3"/>
    <dgm:cxn modelId="{36C1110F-74CA-43C1-83D1-DAFCC4DB1396}" type="presParOf" srcId="{62867BC2-57AB-486A-9513-8336FA6C32CC}" destId="{F5AD21BD-F9EA-4926-8DD3-C117A866EB7A}" srcOrd="1" destOrd="0" presId="urn:microsoft.com/office/officeart/2005/8/layout/process3"/>
    <dgm:cxn modelId="{8BCE81A5-4A8B-4F2E-BB34-F2D168DB7207}" type="presParOf" srcId="{62867BC2-57AB-486A-9513-8336FA6C32CC}" destId="{E47CFF06-206C-4977-977D-40B89A4AA24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8DFD0C-D7B1-4C93-96CC-D485A44331AA}">
      <dsp:nvSpPr>
        <dsp:cNvPr id="0" name=""/>
        <dsp:cNvSpPr/>
      </dsp:nvSpPr>
      <dsp:spPr>
        <a:xfrm>
          <a:off x="8907" y="40089"/>
          <a:ext cx="1721187" cy="33787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ZA" sz="1400" kern="1200" dirty="0"/>
            <a:t>Automation</a:t>
          </a:r>
        </a:p>
      </dsp:txBody>
      <dsp:txXfrm>
        <a:off x="8907" y="40089"/>
        <a:ext cx="1721187" cy="252552"/>
      </dsp:txXfrm>
    </dsp:sp>
    <dsp:sp modelId="{C74129C0-7161-43A0-BEB3-6B0635B5F4B6}">
      <dsp:nvSpPr>
        <dsp:cNvPr id="0" name=""/>
        <dsp:cNvSpPr/>
      </dsp:nvSpPr>
      <dsp:spPr>
        <a:xfrm>
          <a:off x="210616" y="351139"/>
          <a:ext cx="1558867" cy="4032721"/>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a:t>The FMS system seeks to automate the current Fuel Receiving and Fuel Dispensing processes thereby reducing the need for manual intervention by users.</a:t>
          </a:r>
          <a:endParaRPr lang="en-ZA" sz="1200" kern="1200" dirty="0"/>
        </a:p>
      </dsp:txBody>
      <dsp:txXfrm>
        <a:off x="256274" y="396797"/>
        <a:ext cx="1467551" cy="3941405"/>
      </dsp:txXfrm>
    </dsp:sp>
    <dsp:sp modelId="{783276D7-DF24-431F-A7D1-0DE04403DAD4}">
      <dsp:nvSpPr>
        <dsp:cNvPr id="0" name=""/>
        <dsp:cNvSpPr/>
      </dsp:nvSpPr>
      <dsp:spPr>
        <a:xfrm>
          <a:off x="1799029" y="93098"/>
          <a:ext cx="146140" cy="146535"/>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ZA" sz="400" kern="1200"/>
        </a:p>
      </dsp:txBody>
      <dsp:txXfrm>
        <a:off x="1799029" y="122405"/>
        <a:ext cx="102298" cy="87921"/>
      </dsp:txXfrm>
    </dsp:sp>
    <dsp:sp modelId="{2721A866-5A1C-44EC-95D4-6414BB7C0071}">
      <dsp:nvSpPr>
        <dsp:cNvPr id="0" name=""/>
        <dsp:cNvSpPr/>
      </dsp:nvSpPr>
      <dsp:spPr>
        <a:xfrm>
          <a:off x="2005831" y="40089"/>
          <a:ext cx="1721187" cy="33787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ZA" sz="1400" kern="1200" dirty="0"/>
            <a:t>Accuracy</a:t>
          </a:r>
        </a:p>
      </dsp:txBody>
      <dsp:txXfrm>
        <a:off x="2005831" y="40089"/>
        <a:ext cx="1721187" cy="252552"/>
      </dsp:txXfrm>
    </dsp:sp>
    <dsp:sp modelId="{BD11E769-A807-4EA2-9C22-AFC18D247AAC}">
      <dsp:nvSpPr>
        <dsp:cNvPr id="0" name=""/>
        <dsp:cNvSpPr/>
      </dsp:nvSpPr>
      <dsp:spPr>
        <a:xfrm>
          <a:off x="2207539" y="351139"/>
          <a:ext cx="1558867" cy="4032721"/>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a:t>Accurate capture of Fuel Receiving and Dispensing transactions will be recorded and sent (via technology such as sensors) directly to the FMS database ensuring that the margin of error during capture process is reduced.</a:t>
          </a:r>
          <a:endParaRPr lang="en-ZA" sz="1200" kern="1200" dirty="0"/>
        </a:p>
      </dsp:txBody>
      <dsp:txXfrm>
        <a:off x="2253197" y="396797"/>
        <a:ext cx="1467551" cy="3941405"/>
      </dsp:txXfrm>
    </dsp:sp>
    <dsp:sp modelId="{297B8CB8-53A5-465E-BE3F-679FB3628504}">
      <dsp:nvSpPr>
        <dsp:cNvPr id="0" name=""/>
        <dsp:cNvSpPr/>
      </dsp:nvSpPr>
      <dsp:spPr>
        <a:xfrm>
          <a:off x="3795952" y="93098"/>
          <a:ext cx="146140" cy="146535"/>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ZA" sz="400" kern="1200"/>
        </a:p>
      </dsp:txBody>
      <dsp:txXfrm>
        <a:off x="3795952" y="122405"/>
        <a:ext cx="102298" cy="87921"/>
      </dsp:txXfrm>
    </dsp:sp>
    <dsp:sp modelId="{6E34AD88-E8E2-4733-844E-E4A28063500B}">
      <dsp:nvSpPr>
        <dsp:cNvPr id="0" name=""/>
        <dsp:cNvSpPr/>
      </dsp:nvSpPr>
      <dsp:spPr>
        <a:xfrm>
          <a:off x="4002754" y="40089"/>
          <a:ext cx="1721187" cy="33787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ZA" sz="1400" kern="1200" dirty="0"/>
            <a:t>Predictability</a:t>
          </a:r>
        </a:p>
      </dsp:txBody>
      <dsp:txXfrm>
        <a:off x="4002754" y="40089"/>
        <a:ext cx="1721187" cy="252552"/>
      </dsp:txXfrm>
    </dsp:sp>
    <dsp:sp modelId="{5D94A8FE-C6B7-4B32-9A74-097F82DA98B5}">
      <dsp:nvSpPr>
        <dsp:cNvPr id="0" name=""/>
        <dsp:cNvSpPr/>
      </dsp:nvSpPr>
      <dsp:spPr>
        <a:xfrm>
          <a:off x="4204463" y="351139"/>
          <a:ext cx="1558867" cy="4032721"/>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a:t>Key areas of the business process will have embedded technology such as RFID for equipment identification and enhancing predictability of fueling cycles of equipment.</a:t>
          </a:r>
          <a:endParaRPr lang="en-ZA" sz="1200" kern="1200" dirty="0"/>
        </a:p>
      </dsp:txBody>
      <dsp:txXfrm>
        <a:off x="4250121" y="396797"/>
        <a:ext cx="1467551" cy="3941405"/>
      </dsp:txXfrm>
    </dsp:sp>
    <dsp:sp modelId="{F058B309-27BA-413D-858D-B35A7A9B38F8}">
      <dsp:nvSpPr>
        <dsp:cNvPr id="0" name=""/>
        <dsp:cNvSpPr/>
      </dsp:nvSpPr>
      <dsp:spPr>
        <a:xfrm>
          <a:off x="5792875" y="93098"/>
          <a:ext cx="146140" cy="146535"/>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ZA" sz="400" kern="1200"/>
        </a:p>
      </dsp:txBody>
      <dsp:txXfrm>
        <a:off x="5792875" y="122405"/>
        <a:ext cx="102298" cy="87921"/>
      </dsp:txXfrm>
    </dsp:sp>
    <dsp:sp modelId="{0EE413F0-EA8E-459D-9F16-85617323D972}">
      <dsp:nvSpPr>
        <dsp:cNvPr id="0" name=""/>
        <dsp:cNvSpPr/>
      </dsp:nvSpPr>
      <dsp:spPr>
        <a:xfrm>
          <a:off x="5999677" y="40089"/>
          <a:ext cx="1721187" cy="33787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ZA" sz="1400" kern="1200" dirty="0"/>
            <a:t>Non-repudiation</a:t>
          </a:r>
        </a:p>
      </dsp:txBody>
      <dsp:txXfrm>
        <a:off x="5999677" y="40089"/>
        <a:ext cx="1721187" cy="252552"/>
      </dsp:txXfrm>
    </dsp:sp>
    <dsp:sp modelId="{15B4C274-4699-4957-9A69-FABED86AECAC}">
      <dsp:nvSpPr>
        <dsp:cNvPr id="0" name=""/>
        <dsp:cNvSpPr/>
      </dsp:nvSpPr>
      <dsp:spPr>
        <a:xfrm>
          <a:off x="6201386" y="351139"/>
          <a:ext cx="1558867" cy="4032721"/>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a:t>The FMS will utilise biometrics at strategic areas of the business processes ensuring that there is no deniability on who performed a transaction and when it was performed. A fully automated FMS ensures that all fuel transactions are accurately conducted by authorised users and automatically recorded as such.</a:t>
          </a:r>
          <a:endParaRPr lang="en-ZA" sz="1200" kern="1200" dirty="0"/>
        </a:p>
      </dsp:txBody>
      <dsp:txXfrm>
        <a:off x="6247044" y="396797"/>
        <a:ext cx="1467551" cy="3941405"/>
      </dsp:txXfrm>
    </dsp:sp>
    <dsp:sp modelId="{8B6540DE-DCEB-466E-83DC-895835784C94}">
      <dsp:nvSpPr>
        <dsp:cNvPr id="0" name=""/>
        <dsp:cNvSpPr/>
      </dsp:nvSpPr>
      <dsp:spPr>
        <a:xfrm>
          <a:off x="7789799" y="93098"/>
          <a:ext cx="146140" cy="146535"/>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ZA" sz="400" kern="1200"/>
        </a:p>
      </dsp:txBody>
      <dsp:txXfrm>
        <a:off x="7789799" y="122405"/>
        <a:ext cx="102298" cy="87921"/>
      </dsp:txXfrm>
    </dsp:sp>
    <dsp:sp modelId="{49B3F252-057B-4948-ADBC-84C09F40064D}">
      <dsp:nvSpPr>
        <dsp:cNvPr id="0" name=""/>
        <dsp:cNvSpPr/>
      </dsp:nvSpPr>
      <dsp:spPr>
        <a:xfrm>
          <a:off x="7996601" y="40089"/>
          <a:ext cx="1721187" cy="33787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ZA" sz="1400" kern="1200" dirty="0"/>
            <a:t>Traceability</a:t>
          </a:r>
        </a:p>
      </dsp:txBody>
      <dsp:txXfrm>
        <a:off x="7996601" y="40089"/>
        <a:ext cx="1721187" cy="252552"/>
      </dsp:txXfrm>
    </dsp:sp>
    <dsp:sp modelId="{DCE11A48-3574-4073-8B76-48A086DE9232}">
      <dsp:nvSpPr>
        <dsp:cNvPr id="0" name=""/>
        <dsp:cNvSpPr/>
      </dsp:nvSpPr>
      <dsp:spPr>
        <a:xfrm>
          <a:off x="8198310" y="351139"/>
          <a:ext cx="1558867" cy="4032721"/>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a:t>The FMS will provide an ability to identify which equipment, operator was involved in a transaction. The logging of the  operator information and Fuel attendants’ details will be done thereby enabling a secure platform to transact.</a:t>
          </a:r>
          <a:endParaRPr lang="en-ZA" sz="1200" kern="1200" dirty="0"/>
        </a:p>
      </dsp:txBody>
      <dsp:txXfrm>
        <a:off x="8243968" y="396797"/>
        <a:ext cx="1467551" cy="3941405"/>
      </dsp:txXfrm>
    </dsp:sp>
    <dsp:sp modelId="{1CC577A9-9F24-4B3E-9123-4FAA7342C186}">
      <dsp:nvSpPr>
        <dsp:cNvPr id="0" name=""/>
        <dsp:cNvSpPr/>
      </dsp:nvSpPr>
      <dsp:spPr>
        <a:xfrm rot="21578822">
          <a:off x="9776481" y="87051"/>
          <a:ext cx="124434" cy="146535"/>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ZA" sz="400" kern="1200"/>
        </a:p>
      </dsp:txBody>
      <dsp:txXfrm>
        <a:off x="9776481" y="116473"/>
        <a:ext cx="87104" cy="87921"/>
      </dsp:txXfrm>
    </dsp:sp>
    <dsp:sp modelId="{F5AD21BD-F9EA-4926-8DD3-C117A866EB7A}">
      <dsp:nvSpPr>
        <dsp:cNvPr id="0" name=""/>
        <dsp:cNvSpPr/>
      </dsp:nvSpPr>
      <dsp:spPr>
        <a:xfrm>
          <a:off x="9952566" y="34452"/>
          <a:ext cx="1720798" cy="320722"/>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ZA" sz="1400" kern="1200" dirty="0"/>
            <a:t>Integration</a:t>
          </a:r>
          <a:endParaRPr lang="en-ZA" sz="1200" kern="1200" dirty="0"/>
        </a:p>
      </dsp:txBody>
      <dsp:txXfrm>
        <a:off x="9952566" y="34452"/>
        <a:ext cx="1720798" cy="239728"/>
      </dsp:txXfrm>
    </dsp:sp>
    <dsp:sp modelId="{E47CFF06-206C-4977-977D-40B89A4AA241}">
      <dsp:nvSpPr>
        <dsp:cNvPr id="0" name=""/>
        <dsp:cNvSpPr/>
      </dsp:nvSpPr>
      <dsp:spPr>
        <a:xfrm>
          <a:off x="10131686" y="336143"/>
          <a:ext cx="1407018" cy="35042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ZA" sz="1200" kern="1200" dirty="0"/>
            <a:t>FMS Integration into TPT Systems e.g. </a:t>
          </a:r>
          <a:r>
            <a:rPr lang="en-ZA" sz="1200" kern="1200" dirty="0" err="1"/>
            <a:t>PowerBI</a:t>
          </a:r>
          <a:r>
            <a:rPr lang="en-ZA" sz="1200" kern="1200" dirty="0"/>
            <a:t> for Dashboards, Reporting, and Analytics functionality. All of which are currently unavailable.</a:t>
          </a:r>
        </a:p>
      </dsp:txBody>
      <dsp:txXfrm>
        <a:off x="10172896" y="377353"/>
        <a:ext cx="1324598" cy="3421879"/>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3818971" y="0"/>
            <a:ext cx="2921582" cy="495348"/>
          </a:xfrm>
          <a:prstGeom prst="rect">
            <a:avLst/>
          </a:prstGeom>
        </p:spPr>
        <p:txBody>
          <a:bodyPr vert="horz" lIns="91440" tIns="45720" rIns="91440" bIns="45720" rtlCol="0"/>
          <a:lstStyle>
            <a:lvl1pPr algn="r">
              <a:defRPr sz="1200"/>
            </a:lvl1pPr>
          </a:lstStyle>
          <a:p>
            <a:fld id="{43E9E0EE-1DCB-4F30-B077-464F007E46A9}" type="datetimeFigureOut">
              <a:rPr lang="en-GB" smtClean="0"/>
              <a:t>14/04/2025</a:t>
            </a:fld>
            <a:endParaRPr lang="en-GB"/>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3818971" y="9377317"/>
            <a:ext cx="2921582" cy="495347"/>
          </a:xfrm>
          <a:prstGeom prst="rect">
            <a:avLst/>
          </a:prstGeom>
        </p:spPr>
        <p:txBody>
          <a:bodyPr vert="horz" lIns="91440" tIns="45720" rIns="91440" bIns="45720" rtlCol="0" anchor="b"/>
          <a:lstStyle>
            <a:lvl1pPr algn="r">
              <a:defRPr sz="1200"/>
            </a:lvl1pPr>
          </a:lstStyle>
          <a:p>
            <a:fld id="{6AFBB4C9-A071-41E4-892E-F03D70EA8B87}" type="slidenum">
              <a:rPr lang="en-GB" smtClean="0"/>
              <a:t>‹#›</a:t>
            </a:fld>
            <a:endParaRPr lang="en-GB"/>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19CE7D0A-618D-469D-A0F6-7E10C3D47CE6}" type="datetimeFigureOut">
              <a:rPr lang="en-GB" smtClean="0"/>
              <a:t>14/04/2025</a:t>
            </a:fld>
            <a:endParaRPr lang="en-GB"/>
          </a:p>
        </p:txBody>
      </p:sp>
      <p:sp>
        <p:nvSpPr>
          <p:cNvPr id="4" name="Slide Image Placeholder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42843C31-A911-4174-806B-8AA6C10B71FB}" type="slidenum">
              <a:rPr lang="en-GB" smtClean="0"/>
              <a:t>‹#›</a:t>
            </a:fld>
            <a:endParaRPr lang="en-GB"/>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42843C31-A911-4174-806B-8AA6C10B71FB}" type="slidenum">
              <a:rPr lang="en-GB" smtClean="0"/>
              <a:t>3</a:t>
            </a:fld>
            <a:endParaRPr lang="en-GB"/>
          </a:p>
        </p:txBody>
      </p:sp>
    </p:spTree>
    <p:extLst>
      <p:ext uri="{BB962C8B-B14F-4D97-AF65-F5344CB8AC3E}">
        <p14:creationId xmlns:p14="http://schemas.microsoft.com/office/powerpoint/2010/main" val="38082305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A2D0F2-6BDB-0C6F-C02E-4037FA35AF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06A7AD-21C7-90CC-E5D7-C5C7617F92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D78771-A3DC-9D71-D409-4CA9B299F3F9}"/>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2536C008-AB53-475A-F6EE-4B166053B0B8}"/>
              </a:ext>
            </a:extLst>
          </p:cNvPr>
          <p:cNvSpPr>
            <a:spLocks noGrp="1"/>
          </p:cNvSpPr>
          <p:nvPr>
            <p:ph type="sldNum" sz="quarter" idx="5"/>
          </p:nvPr>
        </p:nvSpPr>
        <p:spPr/>
        <p:txBody>
          <a:bodyPr/>
          <a:lstStyle/>
          <a:p>
            <a:fld id="{42843C31-A911-4174-806B-8AA6C10B71FB}" type="slidenum">
              <a:rPr lang="en-GB" smtClean="0"/>
              <a:t>12</a:t>
            </a:fld>
            <a:endParaRPr lang="en-GB"/>
          </a:p>
        </p:txBody>
      </p:sp>
    </p:spTree>
    <p:extLst>
      <p:ext uri="{BB962C8B-B14F-4D97-AF65-F5344CB8AC3E}">
        <p14:creationId xmlns:p14="http://schemas.microsoft.com/office/powerpoint/2010/main" val="27115928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0CD05C-A620-E8B5-2635-7B0B169704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8D11F9-18F1-46EC-1237-943B4DD111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FE2976-3F02-C5CD-0886-C9BAAED4BEE4}"/>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3454F0BD-74B5-83B9-8BD3-CB2D7E9B27F6}"/>
              </a:ext>
            </a:extLst>
          </p:cNvPr>
          <p:cNvSpPr>
            <a:spLocks noGrp="1"/>
          </p:cNvSpPr>
          <p:nvPr>
            <p:ph type="sldNum" sz="quarter" idx="5"/>
          </p:nvPr>
        </p:nvSpPr>
        <p:spPr/>
        <p:txBody>
          <a:bodyPr/>
          <a:lstStyle/>
          <a:p>
            <a:fld id="{42843C31-A911-4174-806B-8AA6C10B71FB}" type="slidenum">
              <a:rPr lang="en-GB" smtClean="0"/>
              <a:t>13</a:t>
            </a:fld>
            <a:endParaRPr lang="en-GB"/>
          </a:p>
        </p:txBody>
      </p:sp>
    </p:spTree>
    <p:extLst>
      <p:ext uri="{BB962C8B-B14F-4D97-AF65-F5344CB8AC3E}">
        <p14:creationId xmlns:p14="http://schemas.microsoft.com/office/powerpoint/2010/main" val="32926044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9A3EE-EC45-844F-AB06-D42954EB3C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C61609-5539-B049-77BE-7ED5D0C2EF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79070D-E492-EA85-E21B-F78FCAC53093}"/>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A19E7043-DB84-BCA9-3F2D-F317CA6A9A51}"/>
              </a:ext>
            </a:extLst>
          </p:cNvPr>
          <p:cNvSpPr>
            <a:spLocks noGrp="1"/>
          </p:cNvSpPr>
          <p:nvPr>
            <p:ph type="sldNum" sz="quarter" idx="5"/>
          </p:nvPr>
        </p:nvSpPr>
        <p:spPr/>
        <p:txBody>
          <a:bodyPr/>
          <a:lstStyle/>
          <a:p>
            <a:fld id="{42843C31-A911-4174-806B-8AA6C10B71FB}" type="slidenum">
              <a:rPr lang="en-GB" smtClean="0"/>
              <a:t>14</a:t>
            </a:fld>
            <a:endParaRPr lang="en-GB"/>
          </a:p>
        </p:txBody>
      </p:sp>
    </p:spTree>
    <p:extLst>
      <p:ext uri="{BB962C8B-B14F-4D97-AF65-F5344CB8AC3E}">
        <p14:creationId xmlns:p14="http://schemas.microsoft.com/office/powerpoint/2010/main" val="15809049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42843C31-A911-4174-806B-8AA6C10B71FB}" type="slidenum">
              <a:rPr lang="en-GB" smtClean="0"/>
              <a:t>15</a:t>
            </a:fld>
            <a:endParaRPr lang="en-GB"/>
          </a:p>
        </p:txBody>
      </p:sp>
    </p:spTree>
    <p:extLst>
      <p:ext uri="{BB962C8B-B14F-4D97-AF65-F5344CB8AC3E}">
        <p14:creationId xmlns:p14="http://schemas.microsoft.com/office/powerpoint/2010/main" val="41851875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E915C-49DF-4BD0-97BD-433B234B10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C322F0-1388-6F44-C0EF-F62B01BCA1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8D7FE3-FF7A-5488-8CAA-5A8CCCE14EC1}"/>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5672145F-5D5A-1637-1D01-641D49A6B82C}"/>
              </a:ext>
            </a:extLst>
          </p:cNvPr>
          <p:cNvSpPr>
            <a:spLocks noGrp="1"/>
          </p:cNvSpPr>
          <p:nvPr>
            <p:ph type="sldNum" sz="quarter" idx="5"/>
          </p:nvPr>
        </p:nvSpPr>
        <p:spPr/>
        <p:txBody>
          <a:bodyPr/>
          <a:lstStyle/>
          <a:p>
            <a:fld id="{42843C31-A911-4174-806B-8AA6C10B71FB}" type="slidenum">
              <a:rPr lang="en-GB" smtClean="0"/>
              <a:t>16</a:t>
            </a:fld>
            <a:endParaRPr lang="en-GB"/>
          </a:p>
        </p:txBody>
      </p:sp>
    </p:spTree>
    <p:extLst>
      <p:ext uri="{BB962C8B-B14F-4D97-AF65-F5344CB8AC3E}">
        <p14:creationId xmlns:p14="http://schemas.microsoft.com/office/powerpoint/2010/main" val="37306419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C7CBA4-5282-BE78-E360-DBC09B5E1D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D10375-5D3F-0E19-2D2B-8F6947884A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ABE9AC-966D-5F93-0C6E-792667FA6E1D}"/>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61B9A18A-FE3C-246D-BA7F-857BA41603F7}"/>
              </a:ext>
            </a:extLst>
          </p:cNvPr>
          <p:cNvSpPr>
            <a:spLocks noGrp="1"/>
          </p:cNvSpPr>
          <p:nvPr>
            <p:ph type="sldNum" sz="quarter" idx="5"/>
          </p:nvPr>
        </p:nvSpPr>
        <p:spPr/>
        <p:txBody>
          <a:bodyPr/>
          <a:lstStyle/>
          <a:p>
            <a:fld id="{42843C31-A911-4174-806B-8AA6C10B71FB}" type="slidenum">
              <a:rPr lang="en-GB" smtClean="0"/>
              <a:t>17</a:t>
            </a:fld>
            <a:endParaRPr lang="en-GB"/>
          </a:p>
        </p:txBody>
      </p:sp>
    </p:spTree>
    <p:extLst>
      <p:ext uri="{BB962C8B-B14F-4D97-AF65-F5344CB8AC3E}">
        <p14:creationId xmlns:p14="http://schemas.microsoft.com/office/powerpoint/2010/main" val="18221278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C7CBA4-5282-BE78-E360-DBC09B5E1D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D10375-5D3F-0E19-2D2B-8F6947884A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ABE9AC-966D-5F93-0C6E-792667FA6E1D}"/>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61B9A18A-FE3C-246D-BA7F-857BA41603F7}"/>
              </a:ext>
            </a:extLst>
          </p:cNvPr>
          <p:cNvSpPr>
            <a:spLocks noGrp="1"/>
          </p:cNvSpPr>
          <p:nvPr>
            <p:ph type="sldNum" sz="quarter" idx="5"/>
          </p:nvPr>
        </p:nvSpPr>
        <p:spPr/>
        <p:txBody>
          <a:bodyPr/>
          <a:lstStyle/>
          <a:p>
            <a:fld id="{42843C31-A911-4174-806B-8AA6C10B71FB}" type="slidenum">
              <a:rPr lang="en-GB" smtClean="0"/>
              <a:t>18</a:t>
            </a:fld>
            <a:endParaRPr lang="en-GB"/>
          </a:p>
        </p:txBody>
      </p:sp>
    </p:spTree>
    <p:extLst>
      <p:ext uri="{BB962C8B-B14F-4D97-AF65-F5344CB8AC3E}">
        <p14:creationId xmlns:p14="http://schemas.microsoft.com/office/powerpoint/2010/main" val="8426574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C7CBA4-5282-BE78-E360-DBC09B5E1D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D10375-5D3F-0E19-2D2B-8F6947884A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ABE9AC-966D-5F93-0C6E-792667FA6E1D}"/>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61B9A18A-FE3C-246D-BA7F-857BA41603F7}"/>
              </a:ext>
            </a:extLst>
          </p:cNvPr>
          <p:cNvSpPr>
            <a:spLocks noGrp="1"/>
          </p:cNvSpPr>
          <p:nvPr>
            <p:ph type="sldNum" sz="quarter" idx="5"/>
          </p:nvPr>
        </p:nvSpPr>
        <p:spPr/>
        <p:txBody>
          <a:bodyPr/>
          <a:lstStyle/>
          <a:p>
            <a:fld id="{42843C31-A911-4174-806B-8AA6C10B71FB}" type="slidenum">
              <a:rPr lang="en-GB" smtClean="0"/>
              <a:t>19</a:t>
            </a:fld>
            <a:endParaRPr lang="en-GB"/>
          </a:p>
        </p:txBody>
      </p:sp>
    </p:spTree>
    <p:extLst>
      <p:ext uri="{BB962C8B-B14F-4D97-AF65-F5344CB8AC3E}">
        <p14:creationId xmlns:p14="http://schemas.microsoft.com/office/powerpoint/2010/main" val="11349983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C7CBA4-5282-BE78-E360-DBC09B5E1D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D10375-5D3F-0E19-2D2B-8F6947884A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ABE9AC-966D-5F93-0C6E-792667FA6E1D}"/>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61B9A18A-FE3C-246D-BA7F-857BA41603F7}"/>
              </a:ext>
            </a:extLst>
          </p:cNvPr>
          <p:cNvSpPr>
            <a:spLocks noGrp="1"/>
          </p:cNvSpPr>
          <p:nvPr>
            <p:ph type="sldNum" sz="quarter" idx="5"/>
          </p:nvPr>
        </p:nvSpPr>
        <p:spPr/>
        <p:txBody>
          <a:bodyPr/>
          <a:lstStyle/>
          <a:p>
            <a:fld id="{42843C31-A911-4174-806B-8AA6C10B71FB}" type="slidenum">
              <a:rPr lang="en-GB" smtClean="0"/>
              <a:t>20</a:t>
            </a:fld>
            <a:endParaRPr lang="en-GB"/>
          </a:p>
        </p:txBody>
      </p:sp>
    </p:spTree>
    <p:extLst>
      <p:ext uri="{BB962C8B-B14F-4D97-AF65-F5344CB8AC3E}">
        <p14:creationId xmlns:p14="http://schemas.microsoft.com/office/powerpoint/2010/main" val="33824797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9E93A0-693F-B590-A676-46421C63D8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D7C706-DC9B-C916-94E5-FABFC0B6B0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2F6041-F0F2-8E05-D482-AA571F36A159}"/>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9DFA70C3-BD52-B3F3-532B-EC79E38DA069}"/>
              </a:ext>
            </a:extLst>
          </p:cNvPr>
          <p:cNvSpPr>
            <a:spLocks noGrp="1"/>
          </p:cNvSpPr>
          <p:nvPr>
            <p:ph type="sldNum" sz="quarter" idx="5"/>
          </p:nvPr>
        </p:nvSpPr>
        <p:spPr/>
        <p:txBody>
          <a:bodyPr/>
          <a:lstStyle/>
          <a:p>
            <a:fld id="{42843C31-A911-4174-806B-8AA6C10B71FB}" type="slidenum">
              <a:rPr lang="en-GB" smtClean="0"/>
              <a:t>21</a:t>
            </a:fld>
            <a:endParaRPr lang="en-GB"/>
          </a:p>
        </p:txBody>
      </p:sp>
    </p:spTree>
    <p:extLst>
      <p:ext uri="{BB962C8B-B14F-4D97-AF65-F5344CB8AC3E}">
        <p14:creationId xmlns:p14="http://schemas.microsoft.com/office/powerpoint/2010/main" val="565994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112BAD-469C-D3DD-B75F-DF1E78C5049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0DA46F-D242-FD92-FB3C-A9D40C054F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7393CF-AE96-2730-CF0A-EC96BA4D5670}"/>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1537CD08-C307-A03E-1EF0-9BF1DA620EAA}"/>
              </a:ext>
            </a:extLst>
          </p:cNvPr>
          <p:cNvSpPr>
            <a:spLocks noGrp="1"/>
          </p:cNvSpPr>
          <p:nvPr>
            <p:ph type="sldNum" sz="quarter" idx="5"/>
          </p:nvPr>
        </p:nvSpPr>
        <p:spPr/>
        <p:txBody>
          <a:bodyPr/>
          <a:lstStyle/>
          <a:p>
            <a:fld id="{42843C31-A911-4174-806B-8AA6C10B71FB}" type="slidenum">
              <a:rPr lang="en-GB" smtClean="0"/>
              <a:t>4</a:t>
            </a:fld>
            <a:endParaRPr lang="en-GB"/>
          </a:p>
        </p:txBody>
      </p:sp>
    </p:spTree>
    <p:extLst>
      <p:ext uri="{BB962C8B-B14F-4D97-AF65-F5344CB8AC3E}">
        <p14:creationId xmlns:p14="http://schemas.microsoft.com/office/powerpoint/2010/main" val="30596361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E003F8-8547-8895-A758-BF1B78CAA9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170AE2-55B3-EFA4-FFF0-4D75AD4D21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06C6CA-7B5F-CA1A-BD6E-ECDA2D8B8F16}"/>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688381C8-46C3-9BDE-970E-98DC65361773}"/>
              </a:ext>
            </a:extLst>
          </p:cNvPr>
          <p:cNvSpPr>
            <a:spLocks noGrp="1"/>
          </p:cNvSpPr>
          <p:nvPr>
            <p:ph type="sldNum" sz="quarter" idx="5"/>
          </p:nvPr>
        </p:nvSpPr>
        <p:spPr/>
        <p:txBody>
          <a:bodyPr/>
          <a:lstStyle/>
          <a:p>
            <a:fld id="{42843C31-A911-4174-806B-8AA6C10B71FB}" type="slidenum">
              <a:rPr lang="en-GB" smtClean="0"/>
              <a:t>22</a:t>
            </a:fld>
            <a:endParaRPr lang="en-GB"/>
          </a:p>
        </p:txBody>
      </p:sp>
    </p:spTree>
    <p:extLst>
      <p:ext uri="{BB962C8B-B14F-4D97-AF65-F5344CB8AC3E}">
        <p14:creationId xmlns:p14="http://schemas.microsoft.com/office/powerpoint/2010/main" val="32687754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6392F0-ED52-0D67-C195-7BEDFAF052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1046F-97B1-1DDB-C251-3F0D6C6AD8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BCD624-AC80-E9F1-99BF-A995B70C10FC}"/>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88515684-E6AC-7A17-A5AF-84FA0CB43C67}"/>
              </a:ext>
            </a:extLst>
          </p:cNvPr>
          <p:cNvSpPr>
            <a:spLocks noGrp="1"/>
          </p:cNvSpPr>
          <p:nvPr>
            <p:ph type="sldNum" sz="quarter" idx="5"/>
          </p:nvPr>
        </p:nvSpPr>
        <p:spPr/>
        <p:txBody>
          <a:bodyPr/>
          <a:lstStyle/>
          <a:p>
            <a:fld id="{42843C31-A911-4174-806B-8AA6C10B71FB}" type="slidenum">
              <a:rPr lang="en-GB" smtClean="0"/>
              <a:t>23</a:t>
            </a:fld>
            <a:endParaRPr lang="en-GB"/>
          </a:p>
        </p:txBody>
      </p:sp>
    </p:spTree>
    <p:extLst>
      <p:ext uri="{BB962C8B-B14F-4D97-AF65-F5344CB8AC3E}">
        <p14:creationId xmlns:p14="http://schemas.microsoft.com/office/powerpoint/2010/main" val="9942004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2B87E-E48B-EF73-8FC4-F4A12D584B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055AB2-B39B-5C90-9393-2C2F346AF3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3726BF-B9BF-B8FD-893D-BE877630AC52}"/>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5E4E8295-C786-1A28-0499-917E351B42C9}"/>
              </a:ext>
            </a:extLst>
          </p:cNvPr>
          <p:cNvSpPr>
            <a:spLocks noGrp="1"/>
          </p:cNvSpPr>
          <p:nvPr>
            <p:ph type="sldNum" sz="quarter" idx="5"/>
          </p:nvPr>
        </p:nvSpPr>
        <p:spPr/>
        <p:txBody>
          <a:bodyPr/>
          <a:lstStyle/>
          <a:p>
            <a:fld id="{42843C31-A911-4174-806B-8AA6C10B71FB}" type="slidenum">
              <a:rPr lang="en-GB" smtClean="0"/>
              <a:t>5</a:t>
            </a:fld>
            <a:endParaRPr lang="en-GB"/>
          </a:p>
        </p:txBody>
      </p:sp>
    </p:spTree>
    <p:extLst>
      <p:ext uri="{BB962C8B-B14F-4D97-AF65-F5344CB8AC3E}">
        <p14:creationId xmlns:p14="http://schemas.microsoft.com/office/powerpoint/2010/main" val="23013458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42843C31-A911-4174-806B-8AA6C10B71FB}" type="slidenum">
              <a:rPr lang="en-GB" smtClean="0"/>
              <a:t>6</a:t>
            </a:fld>
            <a:endParaRPr lang="en-GB"/>
          </a:p>
        </p:txBody>
      </p:sp>
    </p:spTree>
    <p:extLst>
      <p:ext uri="{BB962C8B-B14F-4D97-AF65-F5344CB8AC3E}">
        <p14:creationId xmlns:p14="http://schemas.microsoft.com/office/powerpoint/2010/main" val="39078439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CF0034-95B8-2657-43CF-9EA2D296A3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7ACE96-7D90-8909-3FB6-0C5E9FC11C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E280CD-AB9F-2961-79BB-7232AC6E1244}"/>
              </a:ext>
            </a:extLst>
          </p:cNvPr>
          <p:cNvSpPr>
            <a:spLocks noGrp="1"/>
          </p:cNvSpPr>
          <p:nvPr>
            <p:ph type="body" idx="1"/>
          </p:nvPr>
        </p:nvSpPr>
        <p:spPr/>
        <p:txBody>
          <a:bodyPr/>
          <a:lstStyle/>
          <a:p>
            <a:endParaRPr lang="en-ZA" dirty="0"/>
          </a:p>
        </p:txBody>
      </p:sp>
      <p:sp>
        <p:nvSpPr>
          <p:cNvPr id="4" name="Slide Number Placeholder 3">
            <a:extLst>
              <a:ext uri="{FF2B5EF4-FFF2-40B4-BE49-F238E27FC236}">
                <a16:creationId xmlns:a16="http://schemas.microsoft.com/office/drawing/2014/main" id="{081AC8A3-A6E9-4574-1AC2-F0C4BE4FC626}"/>
              </a:ext>
            </a:extLst>
          </p:cNvPr>
          <p:cNvSpPr>
            <a:spLocks noGrp="1"/>
          </p:cNvSpPr>
          <p:nvPr>
            <p:ph type="sldNum" sz="quarter" idx="5"/>
          </p:nvPr>
        </p:nvSpPr>
        <p:spPr/>
        <p:txBody>
          <a:bodyPr/>
          <a:lstStyle/>
          <a:p>
            <a:fld id="{42843C31-A911-4174-806B-8AA6C10B71FB}" type="slidenum">
              <a:rPr lang="en-GB" smtClean="0"/>
              <a:t>7</a:t>
            </a:fld>
            <a:endParaRPr lang="en-GB"/>
          </a:p>
        </p:txBody>
      </p:sp>
    </p:spTree>
    <p:extLst>
      <p:ext uri="{BB962C8B-B14F-4D97-AF65-F5344CB8AC3E}">
        <p14:creationId xmlns:p14="http://schemas.microsoft.com/office/powerpoint/2010/main" val="9690199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42843C31-A911-4174-806B-8AA6C10B71FB}" type="slidenum">
              <a:rPr lang="en-GB" smtClean="0"/>
              <a:t>8</a:t>
            </a:fld>
            <a:endParaRPr lang="en-GB"/>
          </a:p>
        </p:txBody>
      </p:sp>
    </p:spTree>
    <p:extLst>
      <p:ext uri="{BB962C8B-B14F-4D97-AF65-F5344CB8AC3E}">
        <p14:creationId xmlns:p14="http://schemas.microsoft.com/office/powerpoint/2010/main" val="30685774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C53CB6-078D-3EF7-3D1A-4034E81BEA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1CE164-6ACF-970B-1EFD-E452EC6FA8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B16E01-EB25-987C-CA15-7ABA2FF15958}"/>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F181AFC9-06C5-950B-745F-2598093F6FEC}"/>
              </a:ext>
            </a:extLst>
          </p:cNvPr>
          <p:cNvSpPr>
            <a:spLocks noGrp="1"/>
          </p:cNvSpPr>
          <p:nvPr>
            <p:ph type="sldNum" sz="quarter" idx="5"/>
          </p:nvPr>
        </p:nvSpPr>
        <p:spPr/>
        <p:txBody>
          <a:bodyPr/>
          <a:lstStyle/>
          <a:p>
            <a:fld id="{42843C31-A911-4174-806B-8AA6C10B71FB}" type="slidenum">
              <a:rPr lang="en-GB" smtClean="0"/>
              <a:t>9</a:t>
            </a:fld>
            <a:endParaRPr lang="en-GB"/>
          </a:p>
        </p:txBody>
      </p:sp>
    </p:spTree>
    <p:extLst>
      <p:ext uri="{BB962C8B-B14F-4D97-AF65-F5344CB8AC3E}">
        <p14:creationId xmlns:p14="http://schemas.microsoft.com/office/powerpoint/2010/main" val="18419445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42843C31-A911-4174-806B-8AA6C10B71FB}" type="slidenum">
              <a:rPr lang="en-GB" smtClean="0"/>
              <a:t>10</a:t>
            </a:fld>
            <a:endParaRPr lang="en-GB"/>
          </a:p>
        </p:txBody>
      </p:sp>
    </p:spTree>
    <p:extLst>
      <p:ext uri="{BB962C8B-B14F-4D97-AF65-F5344CB8AC3E}">
        <p14:creationId xmlns:p14="http://schemas.microsoft.com/office/powerpoint/2010/main" val="39557585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F7269B-3A69-0F49-4B27-860889336D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F7C93B-BAE1-FA9C-2F57-7344777BB6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ADD194-3079-503B-26C3-CBEFB721C2D7}"/>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5CFC441A-3AF0-53A2-B7D7-F607F7843A0C}"/>
              </a:ext>
            </a:extLst>
          </p:cNvPr>
          <p:cNvSpPr>
            <a:spLocks noGrp="1"/>
          </p:cNvSpPr>
          <p:nvPr>
            <p:ph type="sldNum" sz="quarter" idx="5"/>
          </p:nvPr>
        </p:nvSpPr>
        <p:spPr/>
        <p:txBody>
          <a:bodyPr/>
          <a:lstStyle/>
          <a:p>
            <a:fld id="{42843C31-A911-4174-806B-8AA6C10B71FB}" type="slidenum">
              <a:rPr lang="en-GB" smtClean="0"/>
              <a:t>11</a:t>
            </a:fld>
            <a:endParaRPr lang="en-GB"/>
          </a:p>
        </p:txBody>
      </p:sp>
    </p:spTree>
    <p:extLst>
      <p:ext uri="{BB962C8B-B14F-4D97-AF65-F5344CB8AC3E}">
        <p14:creationId xmlns:p14="http://schemas.microsoft.com/office/powerpoint/2010/main" val="37384443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2" name="Picture 1">
            <a:extLst>
              <a:ext uri="{FF2B5EF4-FFF2-40B4-BE49-F238E27FC236}">
                <a16:creationId xmlns:a16="http://schemas.microsoft.com/office/drawing/2014/main" id="{0B3F589F-2371-83D8-F684-3450621F48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9383083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9285813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10" name="Picture 9" descr="A green train on a track&#10;&#10;Description automatically generated">
            <a:extLst>
              <a:ext uri="{FF2B5EF4-FFF2-40B4-BE49-F238E27FC236}">
                <a16:creationId xmlns:a16="http://schemas.microsoft.com/office/drawing/2014/main" id="{632EF9B6-B7F2-5B68-A22D-54C283B3FF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5851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4608551" y="1078100"/>
            <a:ext cx="5071263" cy="2585323"/>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574970" y="395211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8" name="Picture 7" descr="Train tracks with train cars on each side&#10;&#10;Description automatically generated">
            <a:extLst>
              <a:ext uri="{FF2B5EF4-FFF2-40B4-BE49-F238E27FC236}">
                <a16:creationId xmlns:a16="http://schemas.microsoft.com/office/drawing/2014/main" id="{2ED9AAEA-3731-AD3D-0F78-72016945F3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271"/>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984614" y="1239087"/>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3285615" y="3772254"/>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4" name="Picture 3" descr="A yellow pipes on a building&#10;&#10;Description automatically generated with medium confidence">
            <a:extLst>
              <a:ext uri="{FF2B5EF4-FFF2-40B4-BE49-F238E27FC236}">
                <a16:creationId xmlns:a16="http://schemas.microsoft.com/office/drawing/2014/main" id="{9EB74ED6-8907-4B51-479C-FDD3F66E7F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smGrid">
            <a:fgClr>
              <a:schemeClr val="tx1">
                <a:lumMod val="50000"/>
                <a:lumOff val="5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467495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3" name="Picture 2">
            <a:extLst>
              <a:ext uri="{FF2B5EF4-FFF2-40B4-BE49-F238E27FC236}">
                <a16:creationId xmlns:a16="http://schemas.microsoft.com/office/drawing/2014/main" id="{250BD579-4CC2-EDC1-6F2E-4E4E271189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5051478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83083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5051478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9285813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58258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4058515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4608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4674954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Placeholder 115">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39079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2" name="Title 1">
            <a:extLst>
              <a:ext uri="{FF2B5EF4-FFF2-40B4-BE49-F238E27FC236}">
                <a16:creationId xmlns:a16="http://schemas.microsoft.com/office/drawing/2014/main" id="{86077D36-9B62-FD3B-4F96-ED9C71D7AA9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80047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429000"/>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Title 1">
            <a:extLst>
              <a:ext uri="{FF2B5EF4-FFF2-40B4-BE49-F238E27FC236}">
                <a16:creationId xmlns:a16="http://schemas.microsoft.com/office/drawing/2014/main" id="{1323907A-9933-E4B0-2CF7-72CC82888E5C}"/>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037340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4558506" y="3308789"/>
            <a:ext cx="5099774" cy="484025"/>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
        <p:nvSpPr>
          <p:cNvPr id="8" name="Title 1">
            <a:extLst>
              <a:ext uri="{FF2B5EF4-FFF2-40B4-BE49-F238E27FC236}">
                <a16:creationId xmlns:a16="http://schemas.microsoft.com/office/drawing/2014/main" id="{2B194933-7819-E06D-72CA-3D249A06F17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900451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ags" Target="../tags/tag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theme" Target="../theme/theme2.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1" imgW="421" imgH="420" progId="TCLayout.ActiveDocument.1">
                  <p:embed/>
                </p:oleObj>
              </mc:Choice>
              <mc:Fallback>
                <p:oleObj name="think-cell Slide" r:id="rId31" imgW="421" imgH="420" progId="TCLayout.ActiveDocument.1">
                  <p:embed/>
                  <p:pic>
                    <p:nvPicPr>
                      <p:cNvPr id="4" name="Object 3" hidden="1"/>
                      <p:cNvPicPr/>
                      <p:nvPr/>
                    </p:nvPicPr>
                    <p:blipFill>
                      <a:blip r:embed="rId32"/>
                      <a:stretch>
                        <a:fillRect/>
                      </a:stretch>
                    </p:blipFill>
                    <p:spPr>
                      <a:xfrm>
                        <a:off x="2119" y="1591"/>
                        <a:ext cx="2116" cy="1587"/>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pic>
        <p:nvPicPr>
          <p:cNvPr id="3" name="Picture 2">
            <a:extLst>
              <a:ext uri="{FF2B5EF4-FFF2-40B4-BE49-F238E27FC236}">
                <a16:creationId xmlns:a16="http://schemas.microsoft.com/office/drawing/2014/main" id="{E5342909-EEA3-22BC-20EC-DD8352F176C2}"/>
              </a:ext>
            </a:extLst>
          </p:cNvPr>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30" r:id="rId1"/>
    <p:sldLayoutId id="2147483744" r:id="rId2"/>
    <p:sldLayoutId id="2147483747" r:id="rId3"/>
    <p:sldLayoutId id="2147483753" r:id="rId4"/>
    <p:sldLayoutId id="2147483757" r:id="rId5"/>
    <p:sldLayoutId id="2147483808" r:id="rId6"/>
    <p:sldLayoutId id="2147483806" r:id="rId7"/>
    <p:sldLayoutId id="2147483807" r:id="rId8"/>
    <p:sldLayoutId id="2147483750" r:id="rId9"/>
    <p:sldLayoutId id="2147483756" r:id="rId10"/>
    <p:sldLayoutId id="2147483749" r:id="rId11"/>
    <p:sldLayoutId id="2147483752" r:id="rId12"/>
    <p:sldLayoutId id="2147483779" r:id="rId13"/>
    <p:sldLayoutId id="2147483755" r:id="rId14"/>
    <p:sldLayoutId id="2147483776" r:id="rId15"/>
    <p:sldLayoutId id="2147483778" r:id="rId16"/>
    <p:sldLayoutId id="2147483751" r:id="rId17"/>
    <p:sldLayoutId id="2147483739" r:id="rId18"/>
    <p:sldLayoutId id="2147483734" r:id="rId19"/>
    <p:sldLayoutId id="2147483745" r:id="rId20"/>
    <p:sldLayoutId id="2147483728" r:id="rId21"/>
    <p:sldLayoutId id="2147483746" r:id="rId22"/>
    <p:sldLayoutId id="2147483736" r:id="rId23"/>
    <p:sldLayoutId id="2147483738" r:id="rId24"/>
    <p:sldLayoutId id="2147483740" r:id="rId25"/>
    <p:sldLayoutId id="2147483732" r:id="rId26"/>
    <p:sldLayoutId id="2147483733" r:id="rId27"/>
    <p:sldLayoutId id="2147483743" r:id="rId28"/>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0" imgW="421" imgH="420" progId="TCLayout.ActiveDocument.1">
                  <p:embed/>
                </p:oleObj>
              </mc:Choice>
              <mc:Fallback>
                <p:oleObj name="think-cell Slide" r:id="rId30" imgW="421" imgH="420" progId="TCLayout.ActiveDocument.1">
                  <p:embed/>
                  <p:pic>
                    <p:nvPicPr>
                      <p:cNvPr id="4" name="Object 3" hidden="1"/>
                      <p:cNvPicPr/>
                      <p:nvPr/>
                    </p:nvPicPr>
                    <p:blipFill>
                      <a:blip r:embed="rId31"/>
                      <a:stretch>
                        <a:fillRect/>
                      </a:stretch>
                    </p:blipFill>
                    <p:spPr>
                      <a:xfrm>
                        <a:off x="2119" y="1591"/>
                        <a:ext cx="2116" cy="1587"/>
                      </a:xfrm>
                      <a:prstGeom prst="rect">
                        <a:avLst/>
                      </a:prstGeom>
                    </p:spPr>
                  </p:pic>
                </p:oleObj>
              </mc:Fallback>
            </mc:AlternateContent>
          </a:graphicData>
        </a:graphic>
      </p:graphicFrame>
      <p:grpSp>
        <p:nvGrpSpPr>
          <p:cNvPr id="208" name="Group 207">
            <a:extLst>
              <a:ext uri="{FF2B5EF4-FFF2-40B4-BE49-F238E27FC236}">
                <a16:creationId xmlns:a16="http://schemas.microsoft.com/office/drawing/2014/main" id="{FC8C16CD-EABE-B174-F203-60F2C5DDB2BD}"/>
              </a:ext>
            </a:extLst>
          </p:cNvPr>
          <p:cNvGrpSpPr/>
          <p:nvPr userDrawn="1"/>
        </p:nvGrpSpPr>
        <p:grpSpPr>
          <a:xfrm>
            <a:off x="10522168" y="260005"/>
            <a:ext cx="1431967" cy="973734"/>
            <a:chOff x="10366157" y="302263"/>
            <a:chExt cx="1394705" cy="948396"/>
          </a:xfrm>
        </p:grpSpPr>
        <p:sp>
          <p:nvSpPr>
            <p:cNvPr id="209" name="object 28">
              <a:extLst>
                <a:ext uri="{FF2B5EF4-FFF2-40B4-BE49-F238E27FC236}">
                  <a16:creationId xmlns:a16="http://schemas.microsoft.com/office/drawing/2014/main" id="{6E773E17-8EE7-2EBB-C07D-470AB8BA4F8C}"/>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0" name="object 29">
              <a:extLst>
                <a:ext uri="{FF2B5EF4-FFF2-40B4-BE49-F238E27FC236}">
                  <a16:creationId xmlns:a16="http://schemas.microsoft.com/office/drawing/2014/main" id="{A9BBCCA1-D2C9-0073-8150-EF7EC50A2649}"/>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211" name="object 30">
              <a:extLst>
                <a:ext uri="{FF2B5EF4-FFF2-40B4-BE49-F238E27FC236}">
                  <a16:creationId xmlns:a16="http://schemas.microsoft.com/office/drawing/2014/main" id="{C63CE11A-7B41-ADC7-F175-47E897852661}"/>
                </a:ext>
              </a:extLst>
            </p:cNvPr>
            <p:cNvGrpSpPr/>
            <p:nvPr/>
          </p:nvGrpSpPr>
          <p:grpSpPr>
            <a:xfrm>
              <a:off x="10674915" y="302263"/>
              <a:ext cx="1085947" cy="122368"/>
              <a:chOff x="-1" y="-1"/>
              <a:chExt cx="1085945" cy="122366"/>
            </a:xfrm>
          </p:grpSpPr>
          <p:sp>
            <p:nvSpPr>
              <p:cNvPr id="212" name="Shape">
                <a:extLst>
                  <a:ext uri="{FF2B5EF4-FFF2-40B4-BE49-F238E27FC236}">
                    <a16:creationId xmlns:a16="http://schemas.microsoft.com/office/drawing/2014/main" id="{F612E393-F414-DC88-2045-14DA35B327CA}"/>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3" name="Shape">
                <a:extLst>
                  <a:ext uri="{FF2B5EF4-FFF2-40B4-BE49-F238E27FC236}">
                    <a16:creationId xmlns:a16="http://schemas.microsoft.com/office/drawing/2014/main" id="{33452A30-51AA-04F4-E737-CBFE876C36F5}"/>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4" name="Shape">
                <a:extLst>
                  <a:ext uri="{FF2B5EF4-FFF2-40B4-BE49-F238E27FC236}">
                    <a16:creationId xmlns:a16="http://schemas.microsoft.com/office/drawing/2014/main" id="{1903EED1-483F-48A2-F8AC-55205B55EA5B}"/>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5" name="Shape">
                <a:extLst>
                  <a:ext uri="{FF2B5EF4-FFF2-40B4-BE49-F238E27FC236}">
                    <a16:creationId xmlns:a16="http://schemas.microsoft.com/office/drawing/2014/main" id="{084D58E9-ED01-715E-498F-CDCF8F0D5A8F}"/>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6" name="Shape">
                <a:extLst>
                  <a:ext uri="{FF2B5EF4-FFF2-40B4-BE49-F238E27FC236}">
                    <a16:creationId xmlns:a16="http://schemas.microsoft.com/office/drawing/2014/main" id="{09378A92-2FFF-09CE-49F7-A623DAF4FDE1}"/>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7" name="Shape">
                <a:extLst>
                  <a:ext uri="{FF2B5EF4-FFF2-40B4-BE49-F238E27FC236}">
                    <a16:creationId xmlns:a16="http://schemas.microsoft.com/office/drawing/2014/main" id="{BAA34797-BD1C-C171-ADCA-381BF5A29547}"/>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8" name="Shape">
                <a:extLst>
                  <a:ext uri="{FF2B5EF4-FFF2-40B4-BE49-F238E27FC236}">
                    <a16:creationId xmlns:a16="http://schemas.microsoft.com/office/drawing/2014/main" id="{9E174C78-C63D-3316-D131-0DDB182589E4}"/>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9" name="Shape">
                <a:extLst>
                  <a:ext uri="{FF2B5EF4-FFF2-40B4-BE49-F238E27FC236}">
                    <a16:creationId xmlns:a16="http://schemas.microsoft.com/office/drawing/2014/main" id="{B3D6561B-58C0-B00B-9114-57EBC4F1BE75}"/>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0" name="Shape">
                <a:extLst>
                  <a:ext uri="{FF2B5EF4-FFF2-40B4-BE49-F238E27FC236}">
                    <a16:creationId xmlns:a16="http://schemas.microsoft.com/office/drawing/2014/main" id="{C91EBE74-344D-8CE0-517C-416261A7E4BB}"/>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1" name="Shape">
                <a:extLst>
                  <a:ext uri="{FF2B5EF4-FFF2-40B4-BE49-F238E27FC236}">
                    <a16:creationId xmlns:a16="http://schemas.microsoft.com/office/drawing/2014/main" id="{3CF5A47B-B13B-2A01-E655-77C052F5ED5B}"/>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2" name="Shape">
                <a:extLst>
                  <a:ext uri="{FF2B5EF4-FFF2-40B4-BE49-F238E27FC236}">
                    <a16:creationId xmlns:a16="http://schemas.microsoft.com/office/drawing/2014/main" id="{CCD62E07-89B6-8D14-845F-6FAE05758330}"/>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3" name="Rectangle">
                <a:extLst>
                  <a:ext uri="{FF2B5EF4-FFF2-40B4-BE49-F238E27FC236}">
                    <a16:creationId xmlns:a16="http://schemas.microsoft.com/office/drawing/2014/main" id="{7D8D2A43-5404-B777-2E6D-EE66FC00E4A3}"/>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4" name="Rectangle">
                <a:extLst>
                  <a:ext uri="{FF2B5EF4-FFF2-40B4-BE49-F238E27FC236}">
                    <a16:creationId xmlns:a16="http://schemas.microsoft.com/office/drawing/2014/main" id="{1E236254-F0B3-D421-6557-050DC6D8C8C4}"/>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5" name="Shape">
                <a:extLst>
                  <a:ext uri="{FF2B5EF4-FFF2-40B4-BE49-F238E27FC236}">
                    <a16:creationId xmlns:a16="http://schemas.microsoft.com/office/drawing/2014/main" id="{2A7C2351-8844-3A3A-B755-905CDFF2264B}"/>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6" name="Shape">
                <a:extLst>
                  <a:ext uri="{FF2B5EF4-FFF2-40B4-BE49-F238E27FC236}">
                    <a16:creationId xmlns:a16="http://schemas.microsoft.com/office/drawing/2014/main" id="{BAB90295-C7AF-C9FB-D56A-059CDDB4832E}"/>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7" name="Shape">
                <a:extLst>
                  <a:ext uri="{FF2B5EF4-FFF2-40B4-BE49-F238E27FC236}">
                    <a16:creationId xmlns:a16="http://schemas.microsoft.com/office/drawing/2014/main" id="{103EF502-B5E0-E8B0-A065-87DA09C585B4}"/>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8" name="Rectangle">
                <a:extLst>
                  <a:ext uri="{FF2B5EF4-FFF2-40B4-BE49-F238E27FC236}">
                    <a16:creationId xmlns:a16="http://schemas.microsoft.com/office/drawing/2014/main" id="{65BFCBCD-8725-AE81-A662-BB13870064AD}"/>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grpSp>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48" r:id="rId9"/>
    <p:sldLayoutId id="2147483789" r:id="rId10"/>
    <p:sldLayoutId id="2147483790" r:id="rId11"/>
    <p:sldLayoutId id="2147483754"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jpeg"/><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521921-02D3-16F7-AFBA-5EF4BC2C0398}"/>
              </a:ext>
            </a:extLst>
          </p:cNvPr>
          <p:cNvSpPr/>
          <p:nvPr/>
        </p:nvSpPr>
        <p:spPr>
          <a:xfrm>
            <a:off x="0" y="0"/>
            <a:ext cx="12192000" cy="6858000"/>
          </a:xfrm>
          <a:prstGeom prst="rect">
            <a:avLst/>
          </a:prstGeom>
          <a:solidFill>
            <a:schemeClr val="bg1">
              <a:lumMod val="95000"/>
              <a:alpha val="36789"/>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5" name="Freeform 4">
            <a:extLst>
              <a:ext uri="{FF2B5EF4-FFF2-40B4-BE49-F238E27FC236}">
                <a16:creationId xmlns:a16="http://schemas.microsoft.com/office/drawing/2014/main" id="{1F54FC13-02AE-90E1-C564-F0EE8DD75D6F}"/>
              </a:ext>
            </a:extLst>
          </p:cNvPr>
          <p:cNvSpPr/>
          <p:nvPr/>
        </p:nvSpPr>
        <p:spPr>
          <a:xfrm>
            <a:off x="-4437" y="256"/>
            <a:ext cx="12196437" cy="6880475"/>
          </a:xfrm>
          <a:custGeom>
            <a:avLst/>
            <a:gdLst>
              <a:gd name="connsiteX0" fmla="*/ 1322551 w 12196437"/>
              <a:gd name="connsiteY0" fmla="*/ 917119 h 6880475"/>
              <a:gd name="connsiteX1" fmla="*/ 642578 w 12196437"/>
              <a:gd name="connsiteY1" fmla="*/ 2059126 h 6880475"/>
              <a:gd name="connsiteX2" fmla="*/ 642578 w 12196437"/>
              <a:gd name="connsiteY2" fmla="*/ 2878457 h 6880475"/>
              <a:gd name="connsiteX3" fmla="*/ 1108528 w 12196437"/>
              <a:gd name="connsiteY3" fmla="*/ 3602271 h 6880475"/>
              <a:gd name="connsiteX4" fmla="*/ 1899683 w 12196437"/>
              <a:gd name="connsiteY4" fmla="*/ 3602271 h 6880475"/>
              <a:gd name="connsiteX5" fmla="*/ 1982058 w 12196437"/>
              <a:gd name="connsiteY5" fmla="*/ 3459631 h 6880475"/>
              <a:gd name="connsiteX6" fmla="*/ 2716485 w 12196437"/>
              <a:gd name="connsiteY6" fmla="*/ 3459631 h 6880475"/>
              <a:gd name="connsiteX7" fmla="*/ 2769423 w 12196437"/>
              <a:gd name="connsiteY7" fmla="*/ 3554387 h 6880475"/>
              <a:gd name="connsiteX8" fmla="*/ 2769423 w 12196437"/>
              <a:gd name="connsiteY8" fmla="*/ 4078708 h 6880475"/>
              <a:gd name="connsiteX9" fmla="*/ 2955399 w 12196437"/>
              <a:gd name="connsiteY9" fmla="*/ 4402397 h 6880475"/>
              <a:gd name="connsiteX10" fmla="*/ 2954388 w 12196437"/>
              <a:gd name="connsiteY10" fmla="*/ 4744531 h 6880475"/>
              <a:gd name="connsiteX11" fmla="*/ 3267086 w 12196437"/>
              <a:gd name="connsiteY11" fmla="*/ 5313072 h 6880475"/>
              <a:gd name="connsiteX12" fmla="*/ 3267086 w 12196437"/>
              <a:gd name="connsiteY12" fmla="*/ 5777000 h 6880475"/>
              <a:gd name="connsiteX13" fmla="*/ 3677951 w 12196437"/>
              <a:gd name="connsiteY13" fmla="*/ 6260639 h 6880475"/>
              <a:gd name="connsiteX14" fmla="*/ 4248259 w 12196437"/>
              <a:gd name="connsiteY14" fmla="*/ 6264176 h 6880475"/>
              <a:gd name="connsiteX15" fmla="*/ 4523812 w 12196437"/>
              <a:gd name="connsiteY15" fmla="*/ 5805807 h 6880475"/>
              <a:gd name="connsiteX16" fmla="*/ 4523812 w 12196437"/>
              <a:gd name="connsiteY16" fmla="*/ 5519010 h 6880475"/>
              <a:gd name="connsiteX17" fmla="*/ 5035877 w 12196437"/>
              <a:gd name="connsiteY17" fmla="*/ 4716736 h 6880475"/>
              <a:gd name="connsiteX18" fmla="*/ 5035877 w 12196437"/>
              <a:gd name="connsiteY18" fmla="*/ 4178518 h 6880475"/>
              <a:gd name="connsiteX19" fmla="*/ 5235624 w 12196437"/>
              <a:gd name="connsiteY19" fmla="*/ 3862662 h 6880475"/>
              <a:gd name="connsiteX20" fmla="*/ 5536950 w 12196437"/>
              <a:gd name="connsiteY20" fmla="*/ 3866200 h 6880475"/>
              <a:gd name="connsiteX21" fmla="*/ 6150722 w 12196437"/>
              <a:gd name="connsiteY21" fmla="*/ 2792291 h 6880475"/>
              <a:gd name="connsiteX22" fmla="*/ 5124064 w 12196437"/>
              <a:gd name="connsiteY22" fmla="*/ 2792291 h 6880475"/>
              <a:gd name="connsiteX23" fmla="*/ 4913199 w 12196437"/>
              <a:gd name="connsiteY23" fmla="*/ 2429941 h 6880475"/>
              <a:gd name="connsiteX24" fmla="*/ 4913199 w 12196437"/>
              <a:gd name="connsiteY24" fmla="*/ 1998230 h 6880475"/>
              <a:gd name="connsiteX25" fmla="*/ 4398481 w 12196437"/>
              <a:gd name="connsiteY25" fmla="*/ 1286670 h 6880475"/>
              <a:gd name="connsiteX26" fmla="*/ 3246239 w 12196437"/>
              <a:gd name="connsiteY26" fmla="*/ 1286670 h 6880475"/>
              <a:gd name="connsiteX27" fmla="*/ 3001135 w 12196437"/>
              <a:gd name="connsiteY27" fmla="*/ 1734048 h 6880475"/>
              <a:gd name="connsiteX28" fmla="*/ 2497029 w 12196437"/>
              <a:gd name="connsiteY28" fmla="*/ 1734048 h 6880475"/>
              <a:gd name="connsiteX29" fmla="*/ 2227921 w 12196437"/>
              <a:gd name="connsiteY29" fmla="*/ 1274036 h 6880475"/>
              <a:gd name="connsiteX30" fmla="*/ 1498168 w 12196437"/>
              <a:gd name="connsiteY30" fmla="*/ 1274036 h 6880475"/>
              <a:gd name="connsiteX31" fmla="*/ 985470 w 12196437"/>
              <a:gd name="connsiteY31" fmla="*/ 2182310 h 6880475"/>
              <a:gd name="connsiteX32" fmla="*/ 998104 w 12196437"/>
              <a:gd name="connsiteY32" fmla="*/ 2763485 h 6880475"/>
              <a:gd name="connsiteX33" fmla="*/ 1323436 w 12196437"/>
              <a:gd name="connsiteY33" fmla="*/ 3233478 h 6880475"/>
              <a:gd name="connsiteX34" fmla="*/ 1704231 w 12196437"/>
              <a:gd name="connsiteY34" fmla="*/ 3233478 h 6880475"/>
              <a:gd name="connsiteX35" fmla="*/ 1841439 w 12196437"/>
              <a:gd name="connsiteY35" fmla="*/ 3054072 h 6880475"/>
              <a:gd name="connsiteX36" fmla="*/ 2888059 w 12196437"/>
              <a:gd name="connsiteY36" fmla="*/ 3054072 h 6880475"/>
              <a:gd name="connsiteX37" fmla="*/ 3121791 w 12196437"/>
              <a:gd name="connsiteY37" fmla="*/ 3479213 h 6880475"/>
              <a:gd name="connsiteX38" fmla="*/ 3121791 w 12196437"/>
              <a:gd name="connsiteY38" fmla="*/ 4018947 h 6880475"/>
              <a:gd name="connsiteX39" fmla="*/ 3308400 w 12196437"/>
              <a:gd name="connsiteY39" fmla="*/ 4339225 h 6880475"/>
              <a:gd name="connsiteX40" fmla="*/ 3308400 w 12196437"/>
              <a:gd name="connsiteY40" fmla="*/ 4666958 h 6880475"/>
              <a:gd name="connsiteX41" fmla="*/ 3643332 w 12196437"/>
              <a:gd name="connsiteY41" fmla="*/ 5227159 h 6880475"/>
              <a:gd name="connsiteX42" fmla="*/ 3643332 w 12196437"/>
              <a:gd name="connsiteY42" fmla="*/ 5573716 h 6880475"/>
              <a:gd name="connsiteX43" fmla="*/ 3866074 w 12196437"/>
              <a:gd name="connsiteY43" fmla="*/ 5864303 h 6880475"/>
              <a:gd name="connsiteX44" fmla="*/ 4054577 w 12196437"/>
              <a:gd name="connsiteY44" fmla="*/ 5864303 h 6880475"/>
              <a:gd name="connsiteX45" fmla="*/ 4204672 w 12196437"/>
              <a:gd name="connsiteY45" fmla="*/ 5616293 h 6880475"/>
              <a:gd name="connsiteX46" fmla="*/ 4204672 w 12196437"/>
              <a:gd name="connsiteY46" fmla="*/ 5371063 h 6880475"/>
              <a:gd name="connsiteX47" fmla="*/ 4680603 w 12196437"/>
              <a:gd name="connsiteY47" fmla="*/ 4609724 h 6880475"/>
              <a:gd name="connsiteX48" fmla="*/ 4684646 w 12196437"/>
              <a:gd name="connsiteY48" fmla="*/ 4017179 h 6880475"/>
              <a:gd name="connsiteX49" fmla="*/ 4956281 w 12196437"/>
              <a:gd name="connsiteY49" fmla="*/ 3560957 h 6880475"/>
              <a:gd name="connsiteX50" fmla="*/ 5339856 w 12196437"/>
              <a:gd name="connsiteY50" fmla="*/ 3559441 h 6880475"/>
              <a:gd name="connsiteX51" fmla="*/ 5613009 w 12196437"/>
              <a:gd name="connsiteY51" fmla="*/ 3098544 h 6880475"/>
              <a:gd name="connsiteX52" fmla="*/ 4927349 w 12196437"/>
              <a:gd name="connsiteY52" fmla="*/ 3096017 h 6880475"/>
              <a:gd name="connsiteX53" fmla="*/ 4568411 w 12196437"/>
              <a:gd name="connsiteY53" fmla="*/ 2507768 h 6880475"/>
              <a:gd name="connsiteX54" fmla="*/ 4582687 w 12196437"/>
              <a:gd name="connsiteY54" fmla="*/ 2127225 h 6880475"/>
              <a:gd name="connsiteX55" fmla="*/ 4252934 w 12196437"/>
              <a:gd name="connsiteY55" fmla="*/ 1643207 h 6880475"/>
              <a:gd name="connsiteX56" fmla="*/ 3444344 w 12196437"/>
              <a:gd name="connsiteY56" fmla="*/ 1638786 h 6880475"/>
              <a:gd name="connsiteX57" fmla="*/ 3194438 w 12196437"/>
              <a:gd name="connsiteY57" fmla="*/ 2076941 h 6880475"/>
              <a:gd name="connsiteX58" fmla="*/ 2278710 w 12196437"/>
              <a:gd name="connsiteY58" fmla="*/ 2076941 h 6880475"/>
              <a:gd name="connsiteX59" fmla="*/ 2053568 w 12196437"/>
              <a:gd name="connsiteY59" fmla="*/ 1657105 h 6880475"/>
              <a:gd name="connsiteX60" fmla="*/ 1715602 w 12196437"/>
              <a:gd name="connsiteY60" fmla="*/ 1657105 h 6880475"/>
              <a:gd name="connsiteX61" fmla="*/ 1365381 w 12196437"/>
              <a:gd name="connsiteY61" fmla="*/ 2321286 h 6880475"/>
              <a:gd name="connsiteX62" fmla="*/ 1372331 w 12196437"/>
              <a:gd name="connsiteY62" fmla="*/ 2653694 h 6880475"/>
              <a:gd name="connsiteX63" fmla="*/ 1441818 w 12196437"/>
              <a:gd name="connsiteY63" fmla="*/ 2745670 h 6880475"/>
              <a:gd name="connsiteX64" fmla="*/ 1553125 w 12196437"/>
              <a:gd name="connsiteY64" fmla="*/ 2743775 h 6880475"/>
              <a:gd name="connsiteX65" fmla="*/ 1649399 w 12196437"/>
              <a:gd name="connsiteY65" fmla="*/ 2662411 h 6880475"/>
              <a:gd name="connsiteX66" fmla="*/ 3697281 w 12196437"/>
              <a:gd name="connsiteY66" fmla="*/ 2663801 h 6880475"/>
              <a:gd name="connsiteX67" fmla="*/ 3898038 w 12196437"/>
              <a:gd name="connsiteY67" fmla="*/ 2270370 h 6880475"/>
              <a:gd name="connsiteX68" fmla="*/ 3931141 w 12196437"/>
              <a:gd name="connsiteY68" fmla="*/ 2270370 h 6880475"/>
              <a:gd name="connsiteX69" fmla="*/ 3994312 w 12196437"/>
              <a:gd name="connsiteY69" fmla="*/ 2353504 h 6880475"/>
              <a:gd name="connsiteX70" fmla="*/ 3994312 w 12196437"/>
              <a:gd name="connsiteY70" fmla="*/ 2771317 h 6880475"/>
              <a:gd name="connsiteX71" fmla="*/ 4377887 w 12196437"/>
              <a:gd name="connsiteY71" fmla="*/ 3414653 h 6880475"/>
              <a:gd name="connsiteX72" fmla="*/ 4099303 w 12196437"/>
              <a:gd name="connsiteY72" fmla="*/ 3832466 h 6880475"/>
              <a:gd name="connsiteX73" fmla="*/ 4091595 w 12196437"/>
              <a:gd name="connsiteY73" fmla="*/ 4456471 h 6880475"/>
              <a:gd name="connsiteX74" fmla="*/ 3969297 w 12196437"/>
              <a:gd name="connsiteY74" fmla="*/ 4641815 h 6880475"/>
              <a:gd name="connsiteX75" fmla="*/ 3858620 w 12196437"/>
              <a:gd name="connsiteY75" fmla="*/ 4455966 h 6880475"/>
              <a:gd name="connsiteX76" fmla="*/ 3858620 w 12196437"/>
              <a:gd name="connsiteY76" fmla="*/ 4076939 h 6880475"/>
              <a:gd name="connsiteX77" fmla="*/ 3720781 w 12196437"/>
              <a:gd name="connsiteY77" fmla="*/ 3851165 h 6880475"/>
              <a:gd name="connsiteX78" fmla="*/ 3720781 w 12196437"/>
              <a:gd name="connsiteY78" fmla="*/ 3321665 h 6880475"/>
              <a:gd name="connsiteX79" fmla="*/ 3556536 w 12196437"/>
              <a:gd name="connsiteY79" fmla="*/ 3043712 h 6880475"/>
              <a:gd name="connsiteX80" fmla="*/ 3728487 w 12196437"/>
              <a:gd name="connsiteY80" fmla="*/ 3043712 h 6880475"/>
              <a:gd name="connsiteX81" fmla="*/ 3946176 w 12196437"/>
              <a:gd name="connsiteY81" fmla="*/ 3385973 h 6880475"/>
              <a:gd name="connsiteX82" fmla="*/ 3779276 w 12196437"/>
              <a:gd name="connsiteY82" fmla="*/ 3638658 h 6880475"/>
              <a:gd name="connsiteX83" fmla="*/ 3779276 w 12196437"/>
              <a:gd name="connsiteY83" fmla="*/ 3763104 h 6880475"/>
              <a:gd name="connsiteX84" fmla="*/ 3994058 w 12196437"/>
              <a:gd name="connsiteY84" fmla="*/ 3763104 h 6880475"/>
              <a:gd name="connsiteX85" fmla="*/ 3994058 w 12196437"/>
              <a:gd name="connsiteY85" fmla="*/ 3703345 h 6880475"/>
              <a:gd name="connsiteX86" fmla="*/ 4202144 w 12196437"/>
              <a:gd name="connsiteY86" fmla="*/ 3389005 h 6880475"/>
              <a:gd name="connsiteX87" fmla="*/ 3846365 w 12196437"/>
              <a:gd name="connsiteY87" fmla="*/ 2829562 h 6880475"/>
              <a:gd name="connsiteX88" fmla="*/ 3180036 w 12196437"/>
              <a:gd name="connsiteY88" fmla="*/ 2829562 h 6880475"/>
              <a:gd name="connsiteX89" fmla="*/ 3505368 w 12196437"/>
              <a:gd name="connsiteY89" fmla="*/ 3380540 h 6880475"/>
              <a:gd name="connsiteX90" fmla="*/ 3505368 w 12196437"/>
              <a:gd name="connsiteY90" fmla="*/ 3911178 h 6880475"/>
              <a:gd name="connsiteX91" fmla="*/ 3643206 w 12196437"/>
              <a:gd name="connsiteY91" fmla="*/ 4136952 h 6880475"/>
              <a:gd name="connsiteX92" fmla="*/ 3643206 w 12196437"/>
              <a:gd name="connsiteY92" fmla="*/ 4514083 h 6880475"/>
              <a:gd name="connsiteX93" fmla="*/ 3959062 w 12196437"/>
              <a:gd name="connsiteY93" fmla="*/ 5043836 h 6880475"/>
              <a:gd name="connsiteX94" fmla="*/ 4305619 w 12196437"/>
              <a:gd name="connsiteY94" fmla="*/ 4522043 h 6880475"/>
              <a:gd name="connsiteX95" fmla="*/ 4313199 w 12196437"/>
              <a:gd name="connsiteY95" fmla="*/ 3898291 h 6880475"/>
              <a:gd name="connsiteX96" fmla="*/ 4631708 w 12196437"/>
              <a:gd name="connsiteY96" fmla="*/ 3420464 h 6880475"/>
              <a:gd name="connsiteX97" fmla="*/ 4209093 w 12196437"/>
              <a:gd name="connsiteY97" fmla="*/ 2712442 h 6880475"/>
              <a:gd name="connsiteX98" fmla="*/ 4209093 w 12196437"/>
              <a:gd name="connsiteY98" fmla="*/ 2281616 h 6880475"/>
              <a:gd name="connsiteX99" fmla="*/ 4037899 w 12196437"/>
              <a:gd name="connsiteY99" fmla="*/ 2055968 h 6880475"/>
              <a:gd name="connsiteX100" fmla="*/ 3766642 w 12196437"/>
              <a:gd name="connsiteY100" fmla="*/ 2055968 h 6880475"/>
              <a:gd name="connsiteX101" fmla="*/ 3566390 w 12196437"/>
              <a:gd name="connsiteY101" fmla="*/ 2448766 h 6880475"/>
              <a:gd name="connsiteX102" fmla="*/ 1582816 w 12196437"/>
              <a:gd name="connsiteY102" fmla="*/ 2447629 h 6880475"/>
              <a:gd name="connsiteX103" fmla="*/ 1581300 w 12196437"/>
              <a:gd name="connsiteY103" fmla="*/ 2371823 h 6880475"/>
              <a:gd name="connsiteX104" fmla="*/ 1844598 w 12196437"/>
              <a:gd name="connsiteY104" fmla="*/ 1871382 h 6880475"/>
              <a:gd name="connsiteX105" fmla="*/ 1924951 w 12196437"/>
              <a:gd name="connsiteY105" fmla="*/ 1871382 h 6880475"/>
              <a:gd name="connsiteX106" fmla="*/ 2150220 w 12196437"/>
              <a:gd name="connsiteY106" fmla="*/ 2291216 h 6880475"/>
              <a:gd name="connsiteX107" fmla="*/ 3319265 w 12196437"/>
              <a:gd name="connsiteY107" fmla="*/ 2291216 h 6880475"/>
              <a:gd name="connsiteX108" fmla="*/ 3568665 w 12196437"/>
              <a:gd name="connsiteY108" fmla="*/ 1853820 h 6880475"/>
              <a:gd name="connsiteX109" fmla="*/ 4139353 w 12196437"/>
              <a:gd name="connsiteY109" fmla="*/ 1856852 h 6880475"/>
              <a:gd name="connsiteX110" fmla="*/ 4365758 w 12196437"/>
              <a:gd name="connsiteY110" fmla="*/ 2189259 h 6880475"/>
              <a:gd name="connsiteX111" fmla="*/ 4351733 w 12196437"/>
              <a:gd name="connsiteY111" fmla="*/ 2563864 h 6880475"/>
              <a:gd name="connsiteX112" fmla="*/ 4806566 w 12196437"/>
              <a:gd name="connsiteY112" fmla="*/ 3310294 h 6880475"/>
              <a:gd name="connsiteX113" fmla="*/ 5236761 w 12196437"/>
              <a:gd name="connsiteY113" fmla="*/ 3311936 h 6880475"/>
              <a:gd name="connsiteX114" fmla="*/ 5217179 w 12196437"/>
              <a:gd name="connsiteY114" fmla="*/ 3344912 h 6880475"/>
              <a:gd name="connsiteX115" fmla="*/ 4833982 w 12196437"/>
              <a:gd name="connsiteY115" fmla="*/ 3346301 h 6880475"/>
              <a:gd name="connsiteX116" fmla="*/ 4470243 w 12196437"/>
              <a:gd name="connsiteY116" fmla="*/ 3957166 h 6880475"/>
              <a:gd name="connsiteX117" fmla="*/ 4466200 w 12196437"/>
              <a:gd name="connsiteY117" fmla="*/ 4547185 h 6880475"/>
              <a:gd name="connsiteX118" fmla="*/ 3989889 w 12196437"/>
              <a:gd name="connsiteY118" fmla="*/ 5309408 h 6880475"/>
              <a:gd name="connsiteX119" fmla="*/ 3989889 w 12196437"/>
              <a:gd name="connsiteY119" fmla="*/ 5556786 h 6880475"/>
              <a:gd name="connsiteX120" fmla="*/ 3950345 w 12196437"/>
              <a:gd name="connsiteY120" fmla="*/ 5622106 h 6880475"/>
              <a:gd name="connsiteX121" fmla="*/ 3857736 w 12196437"/>
              <a:gd name="connsiteY121" fmla="*/ 5501448 h 6880475"/>
              <a:gd name="connsiteX122" fmla="*/ 3857736 w 12196437"/>
              <a:gd name="connsiteY122" fmla="*/ 5168410 h 6880475"/>
              <a:gd name="connsiteX123" fmla="*/ 3522802 w 12196437"/>
              <a:gd name="connsiteY123" fmla="*/ 4608082 h 6880475"/>
              <a:gd name="connsiteX124" fmla="*/ 3522802 w 12196437"/>
              <a:gd name="connsiteY124" fmla="*/ 4281108 h 6880475"/>
              <a:gd name="connsiteX125" fmla="*/ 3336195 w 12196437"/>
              <a:gd name="connsiteY125" fmla="*/ 3960830 h 6880475"/>
              <a:gd name="connsiteX126" fmla="*/ 3336195 w 12196437"/>
              <a:gd name="connsiteY126" fmla="*/ 3424002 h 6880475"/>
              <a:gd name="connsiteX127" fmla="*/ 3015158 w 12196437"/>
              <a:gd name="connsiteY127" fmla="*/ 2839290 h 6880475"/>
              <a:gd name="connsiteX128" fmla="*/ 1735312 w 12196437"/>
              <a:gd name="connsiteY128" fmla="*/ 2839290 h 6880475"/>
              <a:gd name="connsiteX129" fmla="*/ 1598231 w 12196437"/>
              <a:gd name="connsiteY129" fmla="*/ 3018316 h 6880475"/>
              <a:gd name="connsiteX130" fmla="*/ 1435880 w 12196437"/>
              <a:gd name="connsiteY130" fmla="*/ 3018316 h 6880475"/>
              <a:gd name="connsiteX131" fmla="*/ 1210865 w 12196437"/>
              <a:gd name="connsiteY131" fmla="*/ 2693869 h 6880475"/>
              <a:gd name="connsiteX132" fmla="*/ 1201263 w 12196437"/>
              <a:gd name="connsiteY132" fmla="*/ 2236638 h 6880475"/>
              <a:gd name="connsiteX133" fmla="*/ 1623246 w 12196437"/>
              <a:gd name="connsiteY133" fmla="*/ 1488944 h 6880475"/>
              <a:gd name="connsiteX134" fmla="*/ 2104483 w 12196437"/>
              <a:gd name="connsiteY134" fmla="*/ 1488944 h 6880475"/>
              <a:gd name="connsiteX135" fmla="*/ 2373593 w 12196437"/>
              <a:gd name="connsiteY135" fmla="*/ 1948955 h 6880475"/>
              <a:gd name="connsiteX136" fmla="*/ 3128235 w 12196437"/>
              <a:gd name="connsiteY136" fmla="*/ 1948955 h 6880475"/>
              <a:gd name="connsiteX137" fmla="*/ 3373339 w 12196437"/>
              <a:gd name="connsiteY137" fmla="*/ 1501578 h 6880475"/>
              <a:gd name="connsiteX138" fmla="*/ 4288437 w 12196437"/>
              <a:gd name="connsiteY138" fmla="*/ 1501578 h 6880475"/>
              <a:gd name="connsiteX139" fmla="*/ 4698165 w 12196437"/>
              <a:gd name="connsiteY139" fmla="*/ 2067717 h 6880475"/>
              <a:gd name="connsiteX140" fmla="*/ 4697532 w 12196437"/>
              <a:gd name="connsiteY140" fmla="*/ 2487932 h 6880475"/>
              <a:gd name="connsiteX141" fmla="*/ 4999743 w 12196437"/>
              <a:gd name="connsiteY141" fmla="*/ 3007199 h 6880475"/>
              <a:gd name="connsiteX142" fmla="*/ 5779529 w 12196437"/>
              <a:gd name="connsiteY142" fmla="*/ 3007199 h 6880475"/>
              <a:gd name="connsiteX143" fmla="*/ 5412124 w 12196437"/>
              <a:gd name="connsiteY143" fmla="*/ 3649776 h 6880475"/>
              <a:gd name="connsiteX144" fmla="*/ 5117999 w 12196437"/>
              <a:gd name="connsiteY144" fmla="*/ 3646618 h 6880475"/>
              <a:gd name="connsiteX145" fmla="*/ 4820842 w 12196437"/>
              <a:gd name="connsiteY145" fmla="*/ 4115347 h 6880475"/>
              <a:gd name="connsiteX146" fmla="*/ 4820842 w 12196437"/>
              <a:gd name="connsiteY146" fmla="*/ 4653691 h 6880475"/>
              <a:gd name="connsiteX147" fmla="*/ 4308777 w 12196437"/>
              <a:gd name="connsiteY147" fmla="*/ 5456344 h 6880475"/>
              <a:gd name="connsiteX148" fmla="*/ 4308777 w 12196437"/>
              <a:gd name="connsiteY148" fmla="*/ 5746173 h 6880475"/>
              <a:gd name="connsiteX149" fmla="*/ 4126971 w 12196437"/>
              <a:gd name="connsiteY149" fmla="*/ 6048637 h 6880475"/>
              <a:gd name="connsiteX150" fmla="*/ 3777634 w 12196437"/>
              <a:gd name="connsiteY150" fmla="*/ 6046490 h 6880475"/>
              <a:gd name="connsiteX151" fmla="*/ 3482119 w 12196437"/>
              <a:gd name="connsiteY151" fmla="*/ 5698668 h 6880475"/>
              <a:gd name="connsiteX152" fmla="*/ 3482119 w 12196437"/>
              <a:gd name="connsiteY152" fmla="*/ 5258366 h 6880475"/>
              <a:gd name="connsiteX153" fmla="*/ 3169549 w 12196437"/>
              <a:gd name="connsiteY153" fmla="*/ 4689826 h 6880475"/>
              <a:gd name="connsiteX154" fmla="*/ 3170560 w 12196437"/>
              <a:gd name="connsiteY154" fmla="*/ 4345543 h 6880475"/>
              <a:gd name="connsiteX155" fmla="*/ 2984458 w 12196437"/>
              <a:gd name="connsiteY155" fmla="*/ 4021474 h 6880475"/>
              <a:gd name="connsiteX156" fmla="*/ 2984458 w 12196437"/>
              <a:gd name="connsiteY156" fmla="*/ 3498544 h 6880475"/>
              <a:gd name="connsiteX157" fmla="*/ 2842701 w 12196437"/>
              <a:gd name="connsiteY157" fmla="*/ 3244975 h 6880475"/>
              <a:gd name="connsiteX158" fmla="*/ 1857863 w 12196437"/>
              <a:gd name="connsiteY158" fmla="*/ 3244975 h 6880475"/>
              <a:gd name="connsiteX159" fmla="*/ 1775615 w 12196437"/>
              <a:gd name="connsiteY159" fmla="*/ 3387615 h 6880475"/>
              <a:gd name="connsiteX160" fmla="*/ 1225520 w 12196437"/>
              <a:gd name="connsiteY160" fmla="*/ 3387615 h 6880475"/>
              <a:gd name="connsiteX161" fmla="*/ 857360 w 12196437"/>
              <a:gd name="connsiteY161" fmla="*/ 2815285 h 6880475"/>
              <a:gd name="connsiteX162" fmla="*/ 857360 w 12196437"/>
              <a:gd name="connsiteY162" fmla="*/ 2118254 h 6880475"/>
              <a:gd name="connsiteX163" fmla="*/ 1444599 w 12196437"/>
              <a:gd name="connsiteY163" fmla="*/ 1131901 h 6880475"/>
              <a:gd name="connsiteX164" fmla="*/ 2327351 w 12196437"/>
              <a:gd name="connsiteY164" fmla="*/ 1131901 h 6880475"/>
              <a:gd name="connsiteX165" fmla="*/ 2561211 w 12196437"/>
              <a:gd name="connsiteY165" fmla="*/ 1518003 h 6880475"/>
              <a:gd name="connsiteX166" fmla="*/ 2943775 w 12196437"/>
              <a:gd name="connsiteY166" fmla="*/ 1515476 h 6880475"/>
              <a:gd name="connsiteX167" fmla="*/ 3154640 w 12196437"/>
              <a:gd name="connsiteY167" fmla="*/ 1131901 h 6880475"/>
              <a:gd name="connsiteX168" fmla="*/ 9701445 w 12196437"/>
              <a:gd name="connsiteY168" fmla="*/ 1131901 h 6880475"/>
              <a:gd name="connsiteX169" fmla="*/ 9701445 w 12196437"/>
              <a:gd name="connsiteY169" fmla="*/ 917119 h 6880475"/>
              <a:gd name="connsiteX170" fmla="*/ 3027541 w 12196437"/>
              <a:gd name="connsiteY170" fmla="*/ 917119 h 6880475"/>
              <a:gd name="connsiteX171" fmla="*/ 2816548 w 12196437"/>
              <a:gd name="connsiteY171" fmla="*/ 1301452 h 6880475"/>
              <a:gd name="connsiteX172" fmla="*/ 2681994 w 12196437"/>
              <a:gd name="connsiteY172" fmla="*/ 1302336 h 6880475"/>
              <a:gd name="connsiteX173" fmla="*/ 2448388 w 12196437"/>
              <a:gd name="connsiteY173" fmla="*/ 917119 h 6880475"/>
              <a:gd name="connsiteX174" fmla="*/ 0 w 12196437"/>
              <a:gd name="connsiteY174" fmla="*/ 0 h 6880475"/>
              <a:gd name="connsiteX175" fmla="*/ 11413612 w 12196437"/>
              <a:gd name="connsiteY175" fmla="*/ 0 h 6880475"/>
              <a:gd name="connsiteX176" fmla="*/ 12183186 w 12196437"/>
              <a:gd name="connsiteY176" fmla="*/ 0 h 6880475"/>
              <a:gd name="connsiteX177" fmla="*/ 12196437 w 12196437"/>
              <a:gd name="connsiteY177" fmla="*/ 0 h 6880475"/>
              <a:gd name="connsiteX178" fmla="*/ 12196437 w 12196437"/>
              <a:gd name="connsiteY178" fmla="*/ 6880472 h 6880475"/>
              <a:gd name="connsiteX179" fmla="*/ 12183186 w 12196437"/>
              <a:gd name="connsiteY179" fmla="*/ 6880472 h 6880475"/>
              <a:gd name="connsiteX180" fmla="*/ 12183186 w 12196437"/>
              <a:gd name="connsiteY180" fmla="*/ 6880475 h 6880475"/>
              <a:gd name="connsiteX181" fmla="*/ 0 w 12196437"/>
              <a:gd name="connsiteY181" fmla="*/ 6880475 h 688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2196437" h="6880475">
                <a:moveTo>
                  <a:pt x="1322551" y="917119"/>
                </a:moveTo>
                <a:lnTo>
                  <a:pt x="642578" y="2059126"/>
                </a:lnTo>
                <a:lnTo>
                  <a:pt x="642578" y="2878457"/>
                </a:lnTo>
                <a:lnTo>
                  <a:pt x="1108528" y="3602271"/>
                </a:lnTo>
                <a:lnTo>
                  <a:pt x="1899683" y="3602271"/>
                </a:lnTo>
                <a:lnTo>
                  <a:pt x="1982058" y="3459631"/>
                </a:lnTo>
                <a:lnTo>
                  <a:pt x="2716485" y="3459631"/>
                </a:lnTo>
                <a:lnTo>
                  <a:pt x="2769423" y="3554387"/>
                </a:lnTo>
                <a:lnTo>
                  <a:pt x="2769423" y="4078708"/>
                </a:lnTo>
                <a:lnTo>
                  <a:pt x="2955399" y="4402397"/>
                </a:lnTo>
                <a:lnTo>
                  <a:pt x="2954388" y="4744531"/>
                </a:lnTo>
                <a:lnTo>
                  <a:pt x="3267086" y="5313072"/>
                </a:lnTo>
                <a:lnTo>
                  <a:pt x="3267086" y="5777000"/>
                </a:lnTo>
                <a:lnTo>
                  <a:pt x="3677951" y="6260639"/>
                </a:lnTo>
                <a:lnTo>
                  <a:pt x="4248259" y="6264176"/>
                </a:lnTo>
                <a:lnTo>
                  <a:pt x="4523812" y="5805807"/>
                </a:lnTo>
                <a:lnTo>
                  <a:pt x="4523812" y="5519010"/>
                </a:lnTo>
                <a:lnTo>
                  <a:pt x="5035877" y="4716736"/>
                </a:lnTo>
                <a:lnTo>
                  <a:pt x="5035877" y="4178518"/>
                </a:lnTo>
                <a:lnTo>
                  <a:pt x="5235624" y="3862662"/>
                </a:lnTo>
                <a:lnTo>
                  <a:pt x="5536950" y="3866200"/>
                </a:lnTo>
                <a:lnTo>
                  <a:pt x="6150722" y="2792291"/>
                </a:lnTo>
                <a:lnTo>
                  <a:pt x="5124064" y="2792291"/>
                </a:lnTo>
                <a:lnTo>
                  <a:pt x="4913199" y="2429941"/>
                </a:lnTo>
                <a:lnTo>
                  <a:pt x="4913199" y="1998230"/>
                </a:lnTo>
                <a:lnTo>
                  <a:pt x="4398481" y="1286670"/>
                </a:lnTo>
                <a:lnTo>
                  <a:pt x="3246239" y="1286670"/>
                </a:lnTo>
                <a:lnTo>
                  <a:pt x="3001135" y="1734048"/>
                </a:lnTo>
                <a:lnTo>
                  <a:pt x="2497029" y="1734048"/>
                </a:lnTo>
                <a:lnTo>
                  <a:pt x="2227921" y="1274036"/>
                </a:lnTo>
                <a:lnTo>
                  <a:pt x="1498168" y="1274036"/>
                </a:lnTo>
                <a:lnTo>
                  <a:pt x="985470" y="2182310"/>
                </a:lnTo>
                <a:lnTo>
                  <a:pt x="998104" y="2763485"/>
                </a:lnTo>
                <a:lnTo>
                  <a:pt x="1323436" y="3233478"/>
                </a:lnTo>
                <a:lnTo>
                  <a:pt x="1704231" y="3233478"/>
                </a:lnTo>
                <a:lnTo>
                  <a:pt x="1841439" y="3054072"/>
                </a:lnTo>
                <a:lnTo>
                  <a:pt x="2888059" y="3054072"/>
                </a:lnTo>
                <a:lnTo>
                  <a:pt x="3121791" y="3479213"/>
                </a:lnTo>
                <a:lnTo>
                  <a:pt x="3121791" y="4018947"/>
                </a:lnTo>
                <a:lnTo>
                  <a:pt x="3308400" y="4339225"/>
                </a:lnTo>
                <a:lnTo>
                  <a:pt x="3308400" y="4666958"/>
                </a:lnTo>
                <a:lnTo>
                  <a:pt x="3643332" y="5227159"/>
                </a:lnTo>
                <a:lnTo>
                  <a:pt x="3643332" y="5573716"/>
                </a:lnTo>
                <a:lnTo>
                  <a:pt x="3866074" y="5864303"/>
                </a:lnTo>
                <a:lnTo>
                  <a:pt x="4054577" y="5864303"/>
                </a:lnTo>
                <a:lnTo>
                  <a:pt x="4204672" y="5616293"/>
                </a:lnTo>
                <a:lnTo>
                  <a:pt x="4204672" y="5371063"/>
                </a:lnTo>
                <a:lnTo>
                  <a:pt x="4680603" y="4609724"/>
                </a:lnTo>
                <a:lnTo>
                  <a:pt x="4684646" y="4017179"/>
                </a:lnTo>
                <a:lnTo>
                  <a:pt x="4956281" y="3560957"/>
                </a:lnTo>
                <a:lnTo>
                  <a:pt x="5339856" y="3559441"/>
                </a:lnTo>
                <a:lnTo>
                  <a:pt x="5613009" y="3098544"/>
                </a:lnTo>
                <a:lnTo>
                  <a:pt x="4927349" y="3096017"/>
                </a:lnTo>
                <a:lnTo>
                  <a:pt x="4568411" y="2507768"/>
                </a:lnTo>
                <a:lnTo>
                  <a:pt x="4582687" y="2127225"/>
                </a:lnTo>
                <a:lnTo>
                  <a:pt x="4252934" y="1643207"/>
                </a:lnTo>
                <a:lnTo>
                  <a:pt x="3444344" y="1638786"/>
                </a:lnTo>
                <a:lnTo>
                  <a:pt x="3194438" y="2076941"/>
                </a:lnTo>
                <a:lnTo>
                  <a:pt x="2278710" y="2076941"/>
                </a:lnTo>
                <a:lnTo>
                  <a:pt x="2053568" y="1657105"/>
                </a:lnTo>
                <a:lnTo>
                  <a:pt x="1715602" y="1657105"/>
                </a:lnTo>
                <a:lnTo>
                  <a:pt x="1365381" y="2321286"/>
                </a:lnTo>
                <a:lnTo>
                  <a:pt x="1372331" y="2653694"/>
                </a:lnTo>
                <a:lnTo>
                  <a:pt x="1441818" y="2745670"/>
                </a:lnTo>
                <a:lnTo>
                  <a:pt x="1553125" y="2743775"/>
                </a:lnTo>
                <a:lnTo>
                  <a:pt x="1649399" y="2662411"/>
                </a:lnTo>
                <a:lnTo>
                  <a:pt x="3697281" y="2663801"/>
                </a:lnTo>
                <a:lnTo>
                  <a:pt x="3898038" y="2270370"/>
                </a:lnTo>
                <a:lnTo>
                  <a:pt x="3931141" y="2270370"/>
                </a:lnTo>
                <a:lnTo>
                  <a:pt x="3994312" y="2353504"/>
                </a:lnTo>
                <a:lnTo>
                  <a:pt x="3994312" y="2771317"/>
                </a:lnTo>
                <a:lnTo>
                  <a:pt x="4377887" y="3414653"/>
                </a:lnTo>
                <a:lnTo>
                  <a:pt x="4099303" y="3832466"/>
                </a:lnTo>
                <a:lnTo>
                  <a:pt x="4091595" y="4456471"/>
                </a:lnTo>
                <a:lnTo>
                  <a:pt x="3969297" y="4641815"/>
                </a:lnTo>
                <a:lnTo>
                  <a:pt x="3858620" y="4455966"/>
                </a:lnTo>
                <a:lnTo>
                  <a:pt x="3858620" y="4076939"/>
                </a:lnTo>
                <a:lnTo>
                  <a:pt x="3720781" y="3851165"/>
                </a:lnTo>
                <a:lnTo>
                  <a:pt x="3720781" y="3321665"/>
                </a:lnTo>
                <a:lnTo>
                  <a:pt x="3556536" y="3043712"/>
                </a:lnTo>
                <a:lnTo>
                  <a:pt x="3728487" y="3043712"/>
                </a:lnTo>
                <a:lnTo>
                  <a:pt x="3946176" y="3385973"/>
                </a:lnTo>
                <a:lnTo>
                  <a:pt x="3779276" y="3638658"/>
                </a:lnTo>
                <a:lnTo>
                  <a:pt x="3779276" y="3763104"/>
                </a:lnTo>
                <a:lnTo>
                  <a:pt x="3994058" y="3763104"/>
                </a:lnTo>
                <a:lnTo>
                  <a:pt x="3994058" y="3703345"/>
                </a:lnTo>
                <a:lnTo>
                  <a:pt x="4202144" y="3389005"/>
                </a:lnTo>
                <a:lnTo>
                  <a:pt x="3846365" y="2829562"/>
                </a:lnTo>
                <a:lnTo>
                  <a:pt x="3180036" y="2829562"/>
                </a:lnTo>
                <a:lnTo>
                  <a:pt x="3505368" y="3380540"/>
                </a:lnTo>
                <a:lnTo>
                  <a:pt x="3505368" y="3911178"/>
                </a:lnTo>
                <a:lnTo>
                  <a:pt x="3643206" y="4136952"/>
                </a:lnTo>
                <a:lnTo>
                  <a:pt x="3643206" y="4514083"/>
                </a:lnTo>
                <a:lnTo>
                  <a:pt x="3959062" y="5043836"/>
                </a:lnTo>
                <a:lnTo>
                  <a:pt x="4305619" y="4522043"/>
                </a:lnTo>
                <a:lnTo>
                  <a:pt x="4313199" y="3898291"/>
                </a:lnTo>
                <a:lnTo>
                  <a:pt x="4631708" y="3420464"/>
                </a:lnTo>
                <a:lnTo>
                  <a:pt x="4209093" y="2712442"/>
                </a:lnTo>
                <a:lnTo>
                  <a:pt x="4209093" y="2281616"/>
                </a:lnTo>
                <a:lnTo>
                  <a:pt x="4037899" y="2055968"/>
                </a:lnTo>
                <a:lnTo>
                  <a:pt x="3766642" y="2055968"/>
                </a:lnTo>
                <a:lnTo>
                  <a:pt x="3566390" y="2448766"/>
                </a:lnTo>
                <a:lnTo>
                  <a:pt x="1582816" y="2447629"/>
                </a:lnTo>
                <a:lnTo>
                  <a:pt x="1581300" y="2371823"/>
                </a:lnTo>
                <a:lnTo>
                  <a:pt x="1844598" y="1871382"/>
                </a:lnTo>
                <a:lnTo>
                  <a:pt x="1924951" y="1871382"/>
                </a:lnTo>
                <a:lnTo>
                  <a:pt x="2150220" y="2291216"/>
                </a:lnTo>
                <a:lnTo>
                  <a:pt x="3319265" y="2291216"/>
                </a:lnTo>
                <a:lnTo>
                  <a:pt x="3568665" y="1853820"/>
                </a:lnTo>
                <a:lnTo>
                  <a:pt x="4139353" y="1856852"/>
                </a:lnTo>
                <a:lnTo>
                  <a:pt x="4365758" y="2189259"/>
                </a:lnTo>
                <a:lnTo>
                  <a:pt x="4351733" y="2563864"/>
                </a:lnTo>
                <a:lnTo>
                  <a:pt x="4806566" y="3310294"/>
                </a:lnTo>
                <a:lnTo>
                  <a:pt x="5236761" y="3311936"/>
                </a:lnTo>
                <a:lnTo>
                  <a:pt x="5217179" y="3344912"/>
                </a:lnTo>
                <a:lnTo>
                  <a:pt x="4833982" y="3346301"/>
                </a:lnTo>
                <a:lnTo>
                  <a:pt x="4470243" y="3957166"/>
                </a:lnTo>
                <a:lnTo>
                  <a:pt x="4466200" y="4547185"/>
                </a:lnTo>
                <a:lnTo>
                  <a:pt x="3989889" y="5309408"/>
                </a:lnTo>
                <a:lnTo>
                  <a:pt x="3989889" y="5556786"/>
                </a:lnTo>
                <a:lnTo>
                  <a:pt x="3950345" y="5622106"/>
                </a:lnTo>
                <a:lnTo>
                  <a:pt x="3857736" y="5501448"/>
                </a:lnTo>
                <a:lnTo>
                  <a:pt x="3857736" y="5168410"/>
                </a:lnTo>
                <a:lnTo>
                  <a:pt x="3522802" y="4608082"/>
                </a:lnTo>
                <a:lnTo>
                  <a:pt x="3522802" y="4281108"/>
                </a:lnTo>
                <a:lnTo>
                  <a:pt x="3336195" y="3960830"/>
                </a:lnTo>
                <a:lnTo>
                  <a:pt x="3336195" y="3424002"/>
                </a:lnTo>
                <a:lnTo>
                  <a:pt x="3015158" y="2839290"/>
                </a:lnTo>
                <a:lnTo>
                  <a:pt x="1735312" y="2839290"/>
                </a:lnTo>
                <a:lnTo>
                  <a:pt x="1598231" y="3018316"/>
                </a:lnTo>
                <a:lnTo>
                  <a:pt x="1435880" y="3018316"/>
                </a:lnTo>
                <a:lnTo>
                  <a:pt x="1210865" y="2693869"/>
                </a:lnTo>
                <a:lnTo>
                  <a:pt x="1201263" y="2236638"/>
                </a:lnTo>
                <a:lnTo>
                  <a:pt x="1623246" y="1488944"/>
                </a:lnTo>
                <a:lnTo>
                  <a:pt x="2104483" y="1488944"/>
                </a:lnTo>
                <a:lnTo>
                  <a:pt x="2373593" y="1948955"/>
                </a:lnTo>
                <a:lnTo>
                  <a:pt x="3128235" y="1948955"/>
                </a:lnTo>
                <a:lnTo>
                  <a:pt x="3373339" y="1501578"/>
                </a:lnTo>
                <a:lnTo>
                  <a:pt x="4288437" y="1501578"/>
                </a:lnTo>
                <a:lnTo>
                  <a:pt x="4698165" y="2067717"/>
                </a:lnTo>
                <a:lnTo>
                  <a:pt x="4697532" y="2487932"/>
                </a:lnTo>
                <a:lnTo>
                  <a:pt x="4999743" y="3007199"/>
                </a:lnTo>
                <a:lnTo>
                  <a:pt x="5779529" y="3007199"/>
                </a:lnTo>
                <a:lnTo>
                  <a:pt x="5412124" y="3649776"/>
                </a:lnTo>
                <a:lnTo>
                  <a:pt x="5117999" y="3646618"/>
                </a:lnTo>
                <a:lnTo>
                  <a:pt x="4820842" y="4115347"/>
                </a:lnTo>
                <a:lnTo>
                  <a:pt x="4820842" y="4653691"/>
                </a:lnTo>
                <a:lnTo>
                  <a:pt x="4308777" y="5456344"/>
                </a:lnTo>
                <a:lnTo>
                  <a:pt x="4308777" y="5746173"/>
                </a:lnTo>
                <a:lnTo>
                  <a:pt x="4126971" y="6048637"/>
                </a:lnTo>
                <a:lnTo>
                  <a:pt x="3777634" y="6046490"/>
                </a:lnTo>
                <a:lnTo>
                  <a:pt x="3482119" y="5698668"/>
                </a:lnTo>
                <a:lnTo>
                  <a:pt x="3482119" y="5258366"/>
                </a:lnTo>
                <a:lnTo>
                  <a:pt x="3169549" y="4689826"/>
                </a:lnTo>
                <a:lnTo>
                  <a:pt x="3170560" y="4345543"/>
                </a:lnTo>
                <a:lnTo>
                  <a:pt x="2984458" y="4021474"/>
                </a:lnTo>
                <a:lnTo>
                  <a:pt x="2984458" y="3498544"/>
                </a:lnTo>
                <a:lnTo>
                  <a:pt x="2842701" y="3244975"/>
                </a:lnTo>
                <a:lnTo>
                  <a:pt x="1857863" y="3244975"/>
                </a:lnTo>
                <a:lnTo>
                  <a:pt x="1775615" y="3387615"/>
                </a:lnTo>
                <a:lnTo>
                  <a:pt x="1225520" y="3387615"/>
                </a:lnTo>
                <a:lnTo>
                  <a:pt x="857360" y="2815285"/>
                </a:lnTo>
                <a:lnTo>
                  <a:pt x="857360" y="2118254"/>
                </a:lnTo>
                <a:lnTo>
                  <a:pt x="1444599" y="1131901"/>
                </a:lnTo>
                <a:lnTo>
                  <a:pt x="2327351" y="1131901"/>
                </a:lnTo>
                <a:lnTo>
                  <a:pt x="2561211" y="1518003"/>
                </a:lnTo>
                <a:lnTo>
                  <a:pt x="2943775" y="1515476"/>
                </a:lnTo>
                <a:lnTo>
                  <a:pt x="3154640" y="1131901"/>
                </a:lnTo>
                <a:lnTo>
                  <a:pt x="9701445" y="1131901"/>
                </a:lnTo>
                <a:lnTo>
                  <a:pt x="9701445" y="917119"/>
                </a:lnTo>
                <a:lnTo>
                  <a:pt x="3027541" y="917119"/>
                </a:lnTo>
                <a:lnTo>
                  <a:pt x="2816548" y="1301452"/>
                </a:lnTo>
                <a:lnTo>
                  <a:pt x="2681994" y="1302336"/>
                </a:lnTo>
                <a:lnTo>
                  <a:pt x="2448388" y="917119"/>
                </a:lnTo>
                <a:close/>
                <a:moveTo>
                  <a:pt x="0" y="0"/>
                </a:moveTo>
                <a:lnTo>
                  <a:pt x="11413612" y="0"/>
                </a:lnTo>
                <a:lnTo>
                  <a:pt x="12183186" y="0"/>
                </a:lnTo>
                <a:lnTo>
                  <a:pt x="12196437" y="0"/>
                </a:lnTo>
                <a:lnTo>
                  <a:pt x="12196437" y="6880472"/>
                </a:lnTo>
                <a:lnTo>
                  <a:pt x="12183186" y="6880472"/>
                </a:lnTo>
                <a:lnTo>
                  <a:pt x="12183186" y="6880475"/>
                </a:lnTo>
                <a:lnTo>
                  <a:pt x="0" y="6880475"/>
                </a:lnTo>
                <a:close/>
              </a:path>
            </a:pathLst>
          </a:custGeom>
          <a:solidFill>
            <a:schemeClr val="tx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2" name="Freeform 1">
            <a:extLst>
              <a:ext uri="{FF2B5EF4-FFF2-40B4-BE49-F238E27FC236}">
                <a16:creationId xmlns:a16="http://schemas.microsoft.com/office/drawing/2014/main" id="{3BB95173-D454-AF97-C95E-3E044B9B7FE4}"/>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E8839E4A-A270-8325-7BE7-18C3F3F11C29}"/>
              </a:ext>
            </a:extLst>
          </p:cNvPr>
          <p:cNvSpPr/>
          <p:nvPr/>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1</a:t>
            </a:fld>
            <a:endParaRPr lang="en-ZA" sz="767" b="1">
              <a:solidFill>
                <a:schemeClr val="bg1"/>
              </a:solidFill>
              <a:latin typeface="Tahoma"/>
            </a:endParaRPr>
          </a:p>
        </p:txBody>
      </p:sp>
      <p:pic>
        <p:nvPicPr>
          <p:cNvPr id="4" name="Picture 3">
            <a:extLst>
              <a:ext uri="{FF2B5EF4-FFF2-40B4-BE49-F238E27FC236}">
                <a16:creationId xmlns:a16="http://schemas.microsoft.com/office/drawing/2014/main" id="{02B1984C-F51E-C80D-FE4C-C4F9255394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
        <p:nvSpPr>
          <p:cNvPr id="11" name="Title 520">
            <a:extLst>
              <a:ext uri="{FF2B5EF4-FFF2-40B4-BE49-F238E27FC236}">
                <a16:creationId xmlns:a16="http://schemas.microsoft.com/office/drawing/2014/main" id="{6AEC1638-28F3-6F55-DF6F-C9CA11247ECE}"/>
              </a:ext>
            </a:extLst>
          </p:cNvPr>
          <p:cNvSpPr>
            <a:spLocks noGrp="1"/>
          </p:cNvSpPr>
          <p:nvPr>
            <p:ph type="title"/>
          </p:nvPr>
        </p:nvSpPr>
        <p:spPr>
          <a:xfrm>
            <a:off x="7043057" y="1520018"/>
            <a:ext cx="4721341" cy="3631763"/>
          </a:xfrm>
        </p:spPr>
        <p:txBody>
          <a:bodyPr wrap="square" lIns="91440" tIns="45720" rIns="91440" bIns="45720" anchor="t">
            <a:spAutoFit/>
          </a:bodyPr>
          <a:lstStyle/>
          <a:p>
            <a:pPr algn="l">
              <a:tabLst>
                <a:tab pos="4787900" algn="l"/>
              </a:tabLst>
            </a:pPr>
            <a:r>
              <a:rPr lang="en-US" sz="1800" dirty="0">
                <a:solidFill>
                  <a:schemeClr val="bg1"/>
                </a:solidFill>
                <a:latin typeface="Apex New Bold"/>
              </a:rPr>
              <a:t>Compulsory Tender Briefing Session</a:t>
            </a:r>
            <a:br>
              <a:rPr lang="en-US" sz="1800" dirty="0">
                <a:solidFill>
                  <a:schemeClr val="bg1"/>
                </a:solidFill>
                <a:latin typeface="Apex New Bold"/>
              </a:rPr>
            </a:br>
            <a:r>
              <a:rPr lang="en-US" sz="1800" dirty="0">
                <a:solidFill>
                  <a:schemeClr val="bg1"/>
                </a:solidFill>
                <a:latin typeface="Apex New Bold"/>
              </a:rPr>
              <a:t>RFP </a:t>
            </a:r>
            <a:r>
              <a:rPr lang="en-US" sz="1800" dirty="0" err="1">
                <a:solidFill>
                  <a:schemeClr val="bg1"/>
                </a:solidFill>
                <a:latin typeface="Apex New Bold"/>
              </a:rPr>
              <a:t>iCLM</a:t>
            </a:r>
            <a:r>
              <a:rPr lang="en-US" sz="1800" dirty="0">
                <a:solidFill>
                  <a:schemeClr val="bg1"/>
                </a:solidFill>
                <a:latin typeface="Apex New Bold"/>
              </a:rPr>
              <a:t> HQ 926/TPT</a:t>
            </a:r>
            <a:br>
              <a:rPr lang="en-US" sz="1800" dirty="0">
                <a:solidFill>
                  <a:schemeClr val="bg1"/>
                </a:solidFill>
                <a:latin typeface="Apex New Bold"/>
              </a:rPr>
            </a:br>
            <a:br>
              <a:rPr lang="en-US" sz="1600" dirty="0">
                <a:solidFill>
                  <a:schemeClr val="bg1"/>
                </a:solidFill>
                <a:latin typeface="Apex New Bold"/>
              </a:rPr>
            </a:br>
            <a:br>
              <a:rPr lang="en-US" sz="1600" dirty="0">
                <a:solidFill>
                  <a:schemeClr val="bg1"/>
                </a:solidFill>
                <a:latin typeface="Apex New Bold"/>
              </a:rPr>
            </a:br>
            <a:r>
              <a:rPr lang="en-US" sz="1600" dirty="0">
                <a:solidFill>
                  <a:schemeClr val="bg1"/>
                </a:solidFill>
                <a:latin typeface="Apex New Bold"/>
              </a:rPr>
              <a:t>CUSTOM DESIGN, SUPPLY, INSTALLATION, CONFIGURATION, TESTING AND COMMISSIONING OF A FUEL MANAGEMENT SYSTEM FOR TRANSNET SOC LIMITED (REG. NO. 1990/000900/30) OPERATING AS TRANSNET PORT TERMINALS (HEREINAFTER REFERRED TO AS “TPT”), AT THE RICHARD’S BAY,</a:t>
            </a:r>
            <a:br>
              <a:rPr lang="en-US" sz="1600" dirty="0">
                <a:solidFill>
                  <a:schemeClr val="bg1"/>
                </a:solidFill>
                <a:latin typeface="Apex New Bold"/>
              </a:rPr>
            </a:br>
            <a:r>
              <a:rPr lang="en-US" sz="1600" dirty="0">
                <a:solidFill>
                  <a:schemeClr val="bg1"/>
                </a:solidFill>
                <a:latin typeface="Apex New Bold"/>
              </a:rPr>
              <a:t>DURBAN, EASTERN CAPE AND WESTERN CAPE TERMINALS</a:t>
            </a:r>
            <a:br>
              <a:rPr lang="en-US" sz="1600" dirty="0">
                <a:solidFill>
                  <a:schemeClr val="bg1"/>
                </a:solidFill>
                <a:latin typeface="Apex New Bold"/>
              </a:rPr>
            </a:br>
            <a:br>
              <a:rPr lang="en-US" sz="1600" dirty="0"/>
            </a:br>
            <a:r>
              <a:rPr lang="en-US" sz="1800" dirty="0">
                <a:solidFill>
                  <a:schemeClr val="bg1"/>
                </a:solidFill>
                <a:latin typeface="Apex New Bold"/>
              </a:rPr>
              <a:t>Technical Presentation</a:t>
            </a:r>
            <a:endParaRPr lang="en-US" sz="1600" dirty="0">
              <a:solidFill>
                <a:schemeClr val="bg1"/>
              </a:solidFill>
              <a:latin typeface="Apex New Bold"/>
            </a:endParaRPr>
          </a:p>
        </p:txBody>
      </p:sp>
      <p:sp>
        <p:nvSpPr>
          <p:cNvPr id="12" name="Text Placeholder 521">
            <a:extLst>
              <a:ext uri="{FF2B5EF4-FFF2-40B4-BE49-F238E27FC236}">
                <a16:creationId xmlns:a16="http://schemas.microsoft.com/office/drawing/2014/main" id="{3B5E12DC-64D2-45C3-F3B8-46595D8598CD}"/>
              </a:ext>
            </a:extLst>
          </p:cNvPr>
          <p:cNvSpPr>
            <a:spLocks noGrp="1"/>
          </p:cNvSpPr>
          <p:nvPr>
            <p:ph type="body" sz="quarter" idx="13"/>
          </p:nvPr>
        </p:nvSpPr>
        <p:spPr>
          <a:xfrm>
            <a:off x="9663304" y="5325365"/>
            <a:ext cx="2810385" cy="961014"/>
          </a:xfrm>
        </p:spPr>
        <p:txBody>
          <a:bodyPr wrap="square" lIns="91440" tIns="144000" rIns="91440" bIns="45720" anchor="t">
            <a:spAutoFit/>
          </a:bodyPr>
          <a:lstStyle/>
          <a:p>
            <a:pPr algn="l" defTabSz="457200">
              <a:lnSpc>
                <a:spcPct val="100000"/>
              </a:lnSpc>
              <a:spcBef>
                <a:spcPts val="0"/>
              </a:spcBef>
              <a:spcAft>
                <a:spcPts val="0"/>
              </a:spcAft>
              <a:defRPr/>
            </a:pPr>
            <a:r>
              <a:rPr lang="en-US" sz="1600" dirty="0">
                <a:solidFill>
                  <a:srgbClr val="FFFFFF"/>
                </a:solidFill>
                <a:latin typeface="Apex New Medium"/>
              </a:rPr>
              <a:t>Transnet Port Terminals</a:t>
            </a:r>
          </a:p>
          <a:p>
            <a:pPr algn="l" defTabSz="457200">
              <a:lnSpc>
                <a:spcPct val="100000"/>
              </a:lnSpc>
              <a:spcBef>
                <a:spcPts val="0"/>
              </a:spcBef>
              <a:spcAft>
                <a:spcPts val="0"/>
              </a:spcAft>
              <a:defRPr/>
            </a:pPr>
            <a:r>
              <a:rPr lang="en-US" sz="1600" dirty="0">
                <a:solidFill>
                  <a:srgbClr val="FFFFFF"/>
                </a:solidFill>
                <a:latin typeface="Apex New Medium"/>
              </a:rPr>
              <a:t>Venue: MS Teams </a:t>
            </a:r>
          </a:p>
          <a:p>
            <a:pPr algn="l" defTabSz="457200">
              <a:lnSpc>
                <a:spcPct val="100000"/>
              </a:lnSpc>
              <a:spcBef>
                <a:spcPts val="0"/>
              </a:spcBef>
              <a:spcAft>
                <a:spcPts val="0"/>
              </a:spcAft>
              <a:defRPr/>
            </a:pPr>
            <a:r>
              <a:rPr lang="en-US" sz="1600" dirty="0">
                <a:solidFill>
                  <a:srgbClr val="FFFFFF"/>
                </a:solidFill>
                <a:latin typeface="Apex New Medium"/>
              </a:rPr>
              <a:t>Date: 15/04/2025</a:t>
            </a:r>
            <a:endParaRPr lang="en-US" dirty="0"/>
          </a:p>
        </p:txBody>
      </p:sp>
    </p:spTree>
    <p:extLst>
      <p:ext uri="{BB962C8B-B14F-4D97-AF65-F5344CB8AC3E}">
        <p14:creationId xmlns:p14="http://schemas.microsoft.com/office/powerpoint/2010/main" val="9102114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8C7DF0D-CF3D-BC6E-2657-3E6DE238EA93}"/>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ZA" dirty="0">
              <a:latin typeface="+mj-lt"/>
            </a:endParaRPr>
          </a:p>
        </p:txBody>
      </p:sp>
      <p:sp>
        <p:nvSpPr>
          <p:cNvPr id="19" name="Title 18">
            <a:extLst>
              <a:ext uri="{FF2B5EF4-FFF2-40B4-BE49-F238E27FC236}">
                <a16:creationId xmlns:a16="http://schemas.microsoft.com/office/drawing/2014/main" id="{5A7DDE8A-B245-7F8D-DA6F-32478A5A14BA}"/>
              </a:ext>
            </a:extLst>
          </p:cNvPr>
          <p:cNvSpPr>
            <a:spLocks noGrp="1"/>
          </p:cNvSpPr>
          <p:nvPr>
            <p:ph type="title"/>
          </p:nvPr>
        </p:nvSpPr>
        <p:spPr>
          <a:xfrm>
            <a:off x="283474" y="143397"/>
            <a:ext cx="10079725" cy="400110"/>
          </a:xfrm>
        </p:spPr>
        <p:txBody>
          <a:bodyPr/>
          <a:lstStyle/>
          <a:p>
            <a:r>
              <a:rPr lang="en-US" sz="2000" dirty="0">
                <a:latin typeface="+mj-lt"/>
              </a:rPr>
              <a:t>Technical Evaluation </a:t>
            </a:r>
          </a:p>
        </p:txBody>
      </p:sp>
      <p:sp>
        <p:nvSpPr>
          <p:cNvPr id="24" name="TextBox 23">
            <a:extLst>
              <a:ext uri="{FF2B5EF4-FFF2-40B4-BE49-F238E27FC236}">
                <a16:creationId xmlns:a16="http://schemas.microsoft.com/office/drawing/2014/main" id="{F56F26D1-1979-4E75-BF61-3D4E4DF77D1D}"/>
              </a:ext>
            </a:extLst>
          </p:cNvPr>
          <p:cNvSpPr txBox="1"/>
          <p:nvPr/>
        </p:nvSpPr>
        <p:spPr>
          <a:xfrm>
            <a:off x="293634" y="1412860"/>
            <a:ext cx="11505402" cy="2633734"/>
          </a:xfrm>
          <a:prstGeom prst="rect">
            <a:avLst/>
          </a:prstGeom>
          <a:noFill/>
          <a:ln w="12700" cap="flat" cmpd="sng" algn="ctr">
            <a:noFill/>
            <a:prstDash val="solid"/>
            <a:miter lim="800000"/>
          </a:ln>
          <a:effectLst/>
        </p:spPr>
        <p:txBody>
          <a:bodyPr wrap="square" lIns="91440" tIns="45720" rIns="91440" bIns="45720" rtlCol="0" anchor="t">
            <a:spAutoFit/>
          </a:bodyPr>
          <a:lstStyle/>
          <a:p>
            <a:pPr defTabSz="955675">
              <a:lnSpc>
                <a:spcPct val="150000"/>
              </a:lnSpc>
              <a:spcBef>
                <a:spcPct val="0"/>
              </a:spcBef>
              <a:spcAft>
                <a:spcPct val="0"/>
              </a:spcAft>
              <a:defRPr/>
            </a:pPr>
            <a:r>
              <a:rPr lang="en-US" sz="1400" b="1" i="0" u="none" strike="noStrike" baseline="0" dirty="0">
                <a:solidFill>
                  <a:srgbClr val="C00000"/>
                </a:solidFill>
                <a:latin typeface="Tahoma" panose="020B0604030504040204" pitchFamily="34" charset="0"/>
              </a:rPr>
              <a:t>Using the technical evaluation scorecard, the technical </a:t>
            </a:r>
            <a:r>
              <a:rPr lang="en-US" sz="1400" b="1" dirty="0">
                <a:solidFill>
                  <a:srgbClr val="C00000"/>
                </a:solidFill>
                <a:latin typeface="Tahoma" panose="020B0604030504040204" pitchFamily="34" charset="0"/>
              </a:rPr>
              <a:t>and functional criteria will be tested and scored in accordance with the following schedules</a:t>
            </a:r>
            <a:r>
              <a:rPr lang="en-US" sz="1400" b="0" i="0" u="none" strike="noStrike" baseline="0" dirty="0">
                <a:solidFill>
                  <a:srgbClr val="C00000"/>
                </a:solidFill>
                <a:latin typeface="Tahoma" panose="020B0604030504040204" pitchFamily="34" charset="0"/>
              </a:rPr>
              <a:t>:</a:t>
            </a:r>
            <a:endParaRPr lang="en-US" sz="1400" b="1" kern="0" dirty="0">
              <a:solidFill>
                <a:srgbClr val="C00000"/>
              </a:solidFill>
              <a:ea typeface="+mn-lt"/>
              <a:cs typeface="+mn-lt"/>
            </a:endParaRPr>
          </a:p>
          <a:p>
            <a:pPr marL="263525" indent="-263525" defTabSz="955675" fontAlgn="base">
              <a:lnSpc>
                <a:spcPct val="150000"/>
              </a:lnSpc>
              <a:buFont typeface="Arial" panose="020B0604020202020204" pitchFamily="34" charset="0"/>
              <a:buChar char="•"/>
              <a:defRPr/>
            </a:pPr>
            <a:r>
              <a:rPr lang="en-US" sz="1400" kern="0" dirty="0">
                <a:solidFill>
                  <a:prstClr val="black"/>
                </a:solidFill>
                <a:ea typeface="+mn-lt"/>
                <a:cs typeface="+mn-lt"/>
              </a:rPr>
              <a:t>Annexure B - Mandatory Eligibility (Professional Registration) </a:t>
            </a:r>
          </a:p>
          <a:p>
            <a:pPr marL="263525" indent="-263525" defTabSz="955675" fontAlgn="base">
              <a:lnSpc>
                <a:spcPct val="150000"/>
              </a:lnSpc>
              <a:buFont typeface="Arial" panose="020B0604020202020204" pitchFamily="34" charset="0"/>
              <a:buChar char="•"/>
              <a:defRPr/>
            </a:pPr>
            <a:r>
              <a:rPr lang="en-US" sz="1400" kern="0" dirty="0">
                <a:solidFill>
                  <a:prstClr val="black"/>
                </a:solidFill>
                <a:ea typeface="+mn-lt"/>
                <a:cs typeface="+mn-lt"/>
              </a:rPr>
              <a:t>Annexure C - CV's of Key Persons </a:t>
            </a:r>
          </a:p>
          <a:p>
            <a:pPr marL="263525" indent="-263525" defTabSz="955675">
              <a:lnSpc>
                <a:spcPct val="150000"/>
              </a:lnSpc>
              <a:buFont typeface="Arial" panose="020B0604020202020204" pitchFamily="34" charset="0"/>
              <a:buChar char="•"/>
              <a:defRPr/>
            </a:pPr>
            <a:r>
              <a:rPr lang="en-US" sz="1400" kern="0" dirty="0">
                <a:solidFill>
                  <a:prstClr val="black"/>
                </a:solidFill>
                <a:ea typeface="+mn-lt"/>
                <a:cs typeface="+mn-lt"/>
              </a:rPr>
              <a:t>Annexure D - Previous Experience </a:t>
            </a:r>
          </a:p>
          <a:p>
            <a:pPr marL="263525" indent="-263525" defTabSz="955675">
              <a:lnSpc>
                <a:spcPct val="150000"/>
              </a:lnSpc>
              <a:buFont typeface="Arial" panose="020B0604020202020204" pitchFamily="34" charset="0"/>
              <a:buChar char="•"/>
              <a:defRPr/>
            </a:pPr>
            <a:r>
              <a:rPr lang="en-US" sz="1400" kern="0" dirty="0">
                <a:solidFill>
                  <a:prstClr val="black"/>
                </a:solidFill>
                <a:ea typeface="+mn-lt"/>
                <a:cs typeface="+mn-lt"/>
              </a:rPr>
              <a:t>Annexure E -  Method Statement</a:t>
            </a:r>
          </a:p>
          <a:p>
            <a:pPr marL="19050" defTabSz="955675" fontAlgn="base">
              <a:lnSpc>
                <a:spcPct val="150000"/>
              </a:lnSpc>
              <a:spcBef>
                <a:spcPct val="0"/>
              </a:spcBef>
              <a:spcAft>
                <a:spcPct val="0"/>
              </a:spcAft>
              <a:defRPr/>
            </a:pPr>
            <a:endParaRPr lang="en-US" sz="1400" kern="0" dirty="0">
              <a:solidFill>
                <a:prstClr val="black"/>
              </a:solidFill>
              <a:highlight>
                <a:srgbClr val="FFFF00"/>
              </a:highlight>
              <a:ea typeface="+mn-lt"/>
              <a:cs typeface="+mn-lt"/>
            </a:endParaRPr>
          </a:p>
          <a:p>
            <a:pPr marL="19050" defTabSz="955675" fontAlgn="base">
              <a:lnSpc>
                <a:spcPct val="150000"/>
              </a:lnSpc>
              <a:spcBef>
                <a:spcPct val="0"/>
              </a:spcBef>
              <a:spcAft>
                <a:spcPct val="0"/>
              </a:spcAft>
              <a:defRPr/>
            </a:pPr>
            <a:r>
              <a:rPr lang="en-US" sz="1400" b="1" kern="0" dirty="0">
                <a:highlight>
                  <a:srgbClr val="FFFF00"/>
                </a:highlight>
                <a:ea typeface="+mn-lt"/>
                <a:cs typeface="+mn-lt"/>
              </a:rPr>
              <a:t>Note: The minimum technical threshold is 70 points</a:t>
            </a:r>
          </a:p>
        </p:txBody>
      </p:sp>
      <p:pic>
        <p:nvPicPr>
          <p:cNvPr id="8" name="Picture 7">
            <a:extLst>
              <a:ext uri="{FF2B5EF4-FFF2-40B4-BE49-F238E27FC236}">
                <a16:creationId xmlns:a16="http://schemas.microsoft.com/office/drawing/2014/main" id="{C37D3DDE-E2A4-01FE-7ADB-9CF5C2772BE0}"/>
              </a:ext>
            </a:extLst>
          </p:cNvPr>
          <p:cNvPicPr>
            <a:picLocks noChangeAspect="1"/>
          </p:cNvPicPr>
          <p:nvPr/>
        </p:nvPicPr>
        <p:blipFill>
          <a:blip r:embed="rId3"/>
          <a:stretch>
            <a:fillRect/>
          </a:stretch>
        </p:blipFill>
        <p:spPr>
          <a:xfrm>
            <a:off x="6987112" y="2055919"/>
            <a:ext cx="4811924" cy="3736693"/>
          </a:xfrm>
          <a:prstGeom prst="rect">
            <a:avLst/>
          </a:prstGeom>
          <a:ln>
            <a:solidFill>
              <a:schemeClr val="tx1"/>
            </a:solidFill>
          </a:ln>
        </p:spPr>
      </p:pic>
    </p:spTree>
    <p:extLst>
      <p:ext uri="{BB962C8B-B14F-4D97-AF65-F5344CB8AC3E}">
        <p14:creationId xmlns:p14="http://schemas.microsoft.com/office/powerpoint/2010/main" val="21903444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18AE54-D7DB-93A3-9764-8F4D97A9034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A5630AA-862B-B922-181D-782320AB44A1}"/>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ZA" dirty="0">
              <a:latin typeface="+mj-lt"/>
            </a:endParaRPr>
          </a:p>
        </p:txBody>
      </p:sp>
      <p:sp>
        <p:nvSpPr>
          <p:cNvPr id="19" name="Title 18">
            <a:extLst>
              <a:ext uri="{FF2B5EF4-FFF2-40B4-BE49-F238E27FC236}">
                <a16:creationId xmlns:a16="http://schemas.microsoft.com/office/drawing/2014/main" id="{6C145FF5-40E8-1538-48D7-B0B84340E66D}"/>
              </a:ext>
            </a:extLst>
          </p:cNvPr>
          <p:cNvSpPr>
            <a:spLocks noGrp="1"/>
          </p:cNvSpPr>
          <p:nvPr>
            <p:ph type="title"/>
          </p:nvPr>
        </p:nvSpPr>
        <p:spPr>
          <a:xfrm>
            <a:off x="283474" y="143397"/>
            <a:ext cx="10079725" cy="400110"/>
          </a:xfrm>
        </p:spPr>
        <p:txBody>
          <a:bodyPr/>
          <a:lstStyle/>
          <a:p>
            <a:r>
              <a:rPr lang="en-US" sz="2000" dirty="0">
                <a:latin typeface="+mj-lt"/>
              </a:rPr>
              <a:t>Technical Evaluation </a:t>
            </a:r>
          </a:p>
        </p:txBody>
      </p:sp>
      <p:graphicFrame>
        <p:nvGraphicFramePr>
          <p:cNvPr id="5" name="Table 4">
            <a:extLst>
              <a:ext uri="{FF2B5EF4-FFF2-40B4-BE49-F238E27FC236}">
                <a16:creationId xmlns:a16="http://schemas.microsoft.com/office/drawing/2014/main" id="{00AC30DF-04DE-B9CC-DA47-4CD27C769D2B}"/>
              </a:ext>
            </a:extLst>
          </p:cNvPr>
          <p:cNvGraphicFramePr>
            <a:graphicFrameLocks noGrp="1"/>
          </p:cNvGraphicFramePr>
          <p:nvPr>
            <p:extLst>
              <p:ext uri="{D42A27DB-BD31-4B8C-83A1-F6EECF244321}">
                <p14:modId xmlns:p14="http://schemas.microsoft.com/office/powerpoint/2010/main" val="1340551785"/>
              </p:ext>
            </p:extLst>
          </p:nvPr>
        </p:nvGraphicFramePr>
        <p:xfrm>
          <a:off x="293634" y="1341239"/>
          <a:ext cx="11540403" cy="4930943"/>
        </p:xfrm>
        <a:graphic>
          <a:graphicData uri="http://schemas.openxmlformats.org/drawingml/2006/table">
            <a:tbl>
              <a:tblPr/>
              <a:tblGrid>
                <a:gridCol w="1252000">
                  <a:extLst>
                    <a:ext uri="{9D8B030D-6E8A-4147-A177-3AD203B41FA5}">
                      <a16:colId xmlns:a16="http://schemas.microsoft.com/office/drawing/2014/main" val="764618375"/>
                    </a:ext>
                  </a:extLst>
                </a:gridCol>
                <a:gridCol w="1356770">
                  <a:extLst>
                    <a:ext uri="{9D8B030D-6E8A-4147-A177-3AD203B41FA5}">
                      <a16:colId xmlns:a16="http://schemas.microsoft.com/office/drawing/2014/main" val="1412586809"/>
                    </a:ext>
                  </a:extLst>
                </a:gridCol>
                <a:gridCol w="1252000">
                  <a:extLst>
                    <a:ext uri="{9D8B030D-6E8A-4147-A177-3AD203B41FA5}">
                      <a16:colId xmlns:a16="http://schemas.microsoft.com/office/drawing/2014/main" val="2903973643"/>
                    </a:ext>
                  </a:extLst>
                </a:gridCol>
                <a:gridCol w="476702">
                  <a:extLst>
                    <a:ext uri="{9D8B030D-6E8A-4147-A177-3AD203B41FA5}">
                      <a16:colId xmlns:a16="http://schemas.microsoft.com/office/drawing/2014/main" val="3601441116"/>
                    </a:ext>
                  </a:extLst>
                </a:gridCol>
                <a:gridCol w="2514477">
                  <a:extLst>
                    <a:ext uri="{9D8B030D-6E8A-4147-A177-3AD203B41FA5}">
                      <a16:colId xmlns:a16="http://schemas.microsoft.com/office/drawing/2014/main" val="1038113635"/>
                    </a:ext>
                  </a:extLst>
                </a:gridCol>
                <a:gridCol w="2514477">
                  <a:extLst>
                    <a:ext uri="{9D8B030D-6E8A-4147-A177-3AD203B41FA5}">
                      <a16:colId xmlns:a16="http://schemas.microsoft.com/office/drawing/2014/main" val="1302871355"/>
                    </a:ext>
                  </a:extLst>
                </a:gridCol>
                <a:gridCol w="607665">
                  <a:extLst>
                    <a:ext uri="{9D8B030D-6E8A-4147-A177-3AD203B41FA5}">
                      <a16:colId xmlns:a16="http://schemas.microsoft.com/office/drawing/2014/main" val="1997677378"/>
                    </a:ext>
                  </a:extLst>
                </a:gridCol>
                <a:gridCol w="555281">
                  <a:extLst>
                    <a:ext uri="{9D8B030D-6E8A-4147-A177-3AD203B41FA5}">
                      <a16:colId xmlns:a16="http://schemas.microsoft.com/office/drawing/2014/main" val="259997495"/>
                    </a:ext>
                  </a:extLst>
                </a:gridCol>
                <a:gridCol w="555281">
                  <a:extLst>
                    <a:ext uri="{9D8B030D-6E8A-4147-A177-3AD203B41FA5}">
                      <a16:colId xmlns:a16="http://schemas.microsoft.com/office/drawing/2014/main" val="2025015115"/>
                    </a:ext>
                  </a:extLst>
                </a:gridCol>
                <a:gridCol w="455750">
                  <a:extLst>
                    <a:ext uri="{9D8B030D-6E8A-4147-A177-3AD203B41FA5}">
                      <a16:colId xmlns:a16="http://schemas.microsoft.com/office/drawing/2014/main" val="1345143863"/>
                    </a:ext>
                  </a:extLst>
                </a:gridCol>
              </a:tblGrid>
              <a:tr h="109709">
                <a:tc gridSpan="10">
                  <a:txBody>
                    <a:bodyPr/>
                    <a:lstStyle/>
                    <a:p>
                      <a:pPr algn="ctr" fontAlgn="ctr"/>
                      <a:r>
                        <a:rPr lang="en-ZA" sz="500" b="1" i="0" u="sng" strike="noStrike">
                          <a:effectLst/>
                          <a:latin typeface="Calibri" panose="020F0502020204030204" pitchFamily="34" charset="0"/>
                        </a:rPr>
                        <a:t>TECHNICAL EVALUATION</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510260218"/>
                  </a:ext>
                </a:extLst>
              </a:tr>
              <a:tr h="377885">
                <a:tc gridSpan="10">
                  <a:txBody>
                    <a:bodyPr/>
                    <a:lstStyle/>
                    <a:p>
                      <a:pPr algn="l" fontAlgn="ctr"/>
                      <a:r>
                        <a:rPr lang="en-US" sz="500" b="1" i="0" u="none" strike="noStrike">
                          <a:effectLst/>
                          <a:latin typeface="Calibri" panose="020F0502020204030204" pitchFamily="34" charset="0"/>
                        </a:rPr>
                        <a:t>DESCRIPTION OF THE WORKS: CUSTOM DESIGN, SUPPLY, INSTALLATION, CONFIGURATION, TESTING AND COMMISSIONING OF A FUEL MANAGEMENT SYSTEM FOR TRANSNET SOC LIMITED (REG. NO. 1990/000900/30) OPERATING AS TRANSNET PORT TERMINALS (HEREINAFTER REFERRED TO AS “TPT”), AT THE RICHARD’S BAY, DURBAN, EASTERN CAPE AND WESTERN CAPE TERMINALS</a:t>
                      </a:r>
                      <a:br>
                        <a:rPr lang="en-US" sz="500" b="1" i="0" u="none" strike="noStrike">
                          <a:effectLst/>
                          <a:latin typeface="Calibri" panose="020F0502020204030204" pitchFamily="34" charset="0"/>
                        </a:rPr>
                      </a:br>
                      <a:endParaRPr lang="en-US" sz="500" b="1" i="0" u="none" strike="noStrike">
                        <a:effectLst/>
                        <a:latin typeface="Calibri" panose="020F0502020204030204" pitchFamily="34" charset="0"/>
                      </a:endParaRP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14277866"/>
                  </a:ext>
                </a:extLst>
              </a:tr>
              <a:tr h="215354">
                <a:tc>
                  <a:txBody>
                    <a:bodyPr/>
                    <a:lstStyle/>
                    <a:p>
                      <a:pPr algn="ctr" fontAlgn="ctr"/>
                      <a:r>
                        <a:rPr lang="en-ZA" sz="500" b="1" i="0" u="none" strike="noStrike">
                          <a:effectLst/>
                          <a:latin typeface="Calibri" panose="020F0502020204030204" pitchFamily="34" charset="0"/>
                        </a:rPr>
                        <a:t>Evaluation Criteria</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ZA" sz="500" b="1" i="0" u="none" strike="noStrike">
                          <a:effectLst/>
                          <a:latin typeface="Calibri" panose="020F0502020204030204" pitchFamily="34" charset="0"/>
                        </a:rPr>
                        <a:t>Description</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4">
                  <a:txBody>
                    <a:bodyPr/>
                    <a:lstStyle/>
                    <a:p>
                      <a:pPr algn="ctr" fontAlgn="ctr"/>
                      <a:r>
                        <a:rPr lang="en-ZA" sz="500" b="1" i="0" u="none" strike="noStrike">
                          <a:effectLst/>
                          <a:latin typeface="Calibri" panose="020F0502020204030204" pitchFamily="34" charset="0"/>
                        </a:rPr>
                        <a:t>Scoring Principal</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ctr" fontAlgn="ctr"/>
                      <a:r>
                        <a:rPr lang="en-ZA" sz="500" b="1" i="0" u="none" strike="noStrike">
                          <a:effectLst/>
                          <a:latin typeface="Calibri" panose="020F0502020204030204" pitchFamily="34" charset="0"/>
                        </a:rPr>
                        <a:t>Returnable Schedule</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1" i="0" u="none" strike="noStrike">
                          <a:effectLst/>
                          <a:latin typeface="Calibri" panose="020F0502020204030204" pitchFamily="34" charset="0"/>
                        </a:rPr>
                        <a:t>Criteria</a:t>
                      </a:r>
                      <a:br>
                        <a:rPr lang="en-ZA" sz="500" b="1" i="0" u="none" strike="noStrike">
                          <a:effectLst/>
                          <a:latin typeface="Calibri" panose="020F0502020204030204" pitchFamily="34" charset="0"/>
                        </a:rPr>
                      </a:br>
                      <a:r>
                        <a:rPr lang="en-ZA" sz="500" b="1" i="0" u="none" strike="noStrike">
                          <a:effectLst/>
                          <a:latin typeface="Calibri" panose="020F0502020204030204" pitchFamily="34" charset="0"/>
                        </a:rPr>
                        <a:t>Yes/No</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1" i="0" u="none" strike="noStrike">
                          <a:effectLst/>
                          <a:latin typeface="Calibri" panose="020F0502020204030204" pitchFamily="34" charset="0"/>
                        </a:rPr>
                        <a:t>Sub-Criteria Weighting</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1" i="0" u="none" strike="noStrike">
                          <a:effectLst/>
                          <a:latin typeface="Calibri" panose="020F0502020204030204" pitchFamily="34" charset="0"/>
                        </a:rPr>
                        <a:t>Weighting</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74306354"/>
                  </a:ext>
                </a:extLst>
              </a:tr>
              <a:tr h="517257">
                <a:tc>
                  <a:txBody>
                    <a:bodyPr/>
                    <a:lstStyle/>
                    <a:p>
                      <a:pPr algn="ctr" fontAlgn="ctr"/>
                      <a:r>
                        <a:rPr lang="en-ZA" sz="500" b="1" i="0" u="none" strike="noStrike">
                          <a:effectLst/>
                          <a:latin typeface="Calibri" panose="020F0502020204030204" pitchFamily="34" charset="0"/>
                        </a:rPr>
                        <a:t>Eligibility (Mandatory)</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US" sz="500" b="0" i="0" u="none" strike="noStrike">
                          <a:effectLst/>
                          <a:latin typeface="Calibri" panose="020F0502020204030204" pitchFamily="34" charset="0"/>
                        </a:rPr>
                        <a:t>Proof of professional registration of Key Person required in the project organogram is supplied.</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4">
                  <a:txBody>
                    <a:bodyPr/>
                    <a:lstStyle/>
                    <a:p>
                      <a:pPr algn="l" fontAlgn="ctr"/>
                      <a:r>
                        <a:rPr lang="en-US" sz="500" b="0" i="0" u="none" strike="noStrike">
                          <a:effectLst/>
                          <a:latin typeface="Calibri" panose="020F0502020204030204" pitchFamily="34" charset="0"/>
                        </a:rPr>
                        <a:t>Instrumentation Engineer / Technologist has active professional registration certificate with Engineering Council of South Africa (ECSA) </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ctr" fontAlgn="ctr"/>
                      <a:r>
                        <a:rPr lang="en-ZA" sz="500" b="0" i="0" u="none" strike="noStrike">
                          <a:effectLst/>
                          <a:latin typeface="Calibri" panose="020F0502020204030204" pitchFamily="34" charset="0"/>
                        </a:rPr>
                        <a:t>T2.2-01</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Yes/No</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NA</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NA</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9780885"/>
                  </a:ext>
                </a:extLst>
              </a:tr>
              <a:tr h="201133">
                <a:tc rowSpan="7">
                  <a:txBody>
                    <a:bodyPr/>
                    <a:lstStyle/>
                    <a:p>
                      <a:pPr algn="ctr" fontAlgn="ctr"/>
                      <a:r>
                        <a:rPr lang="en-ZA" sz="500" b="1" i="0" u="none" strike="noStrike">
                          <a:effectLst/>
                          <a:latin typeface="Calibri" panose="020F0502020204030204" pitchFamily="34" charset="0"/>
                        </a:rPr>
                        <a:t>CVs of Key Persons</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7">
                  <a:txBody>
                    <a:bodyPr/>
                    <a:lstStyle/>
                    <a:p>
                      <a:pPr algn="l" fontAlgn="ctr"/>
                      <a:r>
                        <a:rPr lang="en-ZA" sz="500" b="0" i="0" u="none" strike="noStrike">
                          <a:effectLst/>
                          <a:latin typeface="Calibri" panose="020F0502020204030204" pitchFamily="34" charset="0"/>
                        </a:rPr>
                        <a:t>Engineering and ICT</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1" i="0" u="none" strike="noStrike">
                          <a:effectLst/>
                          <a:latin typeface="Calibri" panose="020F0502020204030204" pitchFamily="34" charset="0"/>
                        </a:rPr>
                        <a:t>Sub-Criteria</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ctr" fontAlgn="ctr"/>
                      <a:r>
                        <a:rPr lang="en-ZA" sz="500" b="1" i="0" u="none" strike="noStrike">
                          <a:effectLst/>
                          <a:latin typeface="Calibri" panose="020F0502020204030204" pitchFamily="34" charset="0"/>
                        </a:rPr>
                        <a:t>Weighting</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a:txBody>
                    <a:bodyPr/>
                    <a:lstStyle/>
                    <a:p>
                      <a:pPr algn="ctr" fontAlgn="ctr"/>
                      <a:r>
                        <a:rPr lang="en-ZA" sz="500" b="1" i="0" u="none" strike="noStrike">
                          <a:effectLst/>
                          <a:latin typeface="Calibri" panose="020F0502020204030204" pitchFamily="34" charset="0"/>
                        </a:rPr>
                        <a:t>Scoring</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1" i="0" u="none" strike="noStrike">
                          <a:effectLst/>
                          <a:latin typeface="Calibri" panose="020F0502020204030204" pitchFamily="34" charset="0"/>
                        </a:rPr>
                        <a:t> </a:t>
                      </a:r>
                    </a:p>
                  </a:txBody>
                  <a:tcPr marL="3006" marR="3006" marT="3006"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ZA" sz="500" b="1" i="0" u="none" strike="noStrike">
                          <a:effectLst/>
                          <a:latin typeface="Calibri" panose="020F0502020204030204" pitchFamily="34" charset="0"/>
                        </a:rPr>
                        <a:t> </a:t>
                      </a:r>
                    </a:p>
                  </a:txBody>
                  <a:tcPr marL="3006" marR="3006" marT="3006"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ZA" sz="500" b="0" i="0" u="none" strike="noStrike">
                          <a:effectLst/>
                          <a:latin typeface="Calibri" panose="020F0502020204030204" pitchFamily="34" charset="0"/>
                        </a:rPr>
                        <a:t> </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ZA" sz="500" b="1" i="0" u="none" strike="noStrike">
                          <a:effectLst/>
                          <a:latin typeface="Calibri" panose="020F0502020204030204" pitchFamily="34" charset="0"/>
                        </a:rPr>
                        <a:t> </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0000"/>
                    </a:solidFill>
                  </a:tcPr>
                </a:tc>
                <a:extLst>
                  <a:ext uri="{0D108BD9-81ED-4DB2-BD59-A6C34878D82A}">
                    <a16:rowId xmlns:a16="http://schemas.microsoft.com/office/drawing/2014/main" val="61651246"/>
                  </a:ext>
                </a:extLst>
              </a:tr>
              <a:tr h="201133">
                <a:tc vMerge="1">
                  <a:txBody>
                    <a:bodyPr/>
                    <a:lstStyle/>
                    <a:p>
                      <a:endParaRPr lang="en-ZA"/>
                    </a:p>
                  </a:txBody>
                  <a:tcPr/>
                </a:tc>
                <a:tc vMerge="1">
                  <a:txBody>
                    <a:bodyPr/>
                    <a:lstStyle/>
                    <a:p>
                      <a:endParaRPr lang="en-ZA"/>
                    </a:p>
                  </a:txBody>
                  <a:tcPr/>
                </a:tc>
                <a:tc>
                  <a:txBody>
                    <a:bodyPr/>
                    <a:lstStyle/>
                    <a:p>
                      <a:pPr algn="l" fontAlgn="ctr"/>
                      <a:r>
                        <a:rPr lang="en-ZA" sz="500" b="0" i="0" u="none" strike="noStrike">
                          <a:effectLst/>
                          <a:latin typeface="Calibri" panose="020F0502020204030204" pitchFamily="34" charset="0"/>
                        </a:rPr>
                        <a:t>Project Manager</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6">
                  <a:txBody>
                    <a:bodyPr/>
                    <a:lstStyle/>
                    <a:p>
                      <a:pPr algn="ctr" fontAlgn="ctr"/>
                      <a:r>
                        <a:rPr lang="en-ZA" sz="500" b="0" i="0" u="none" strike="noStrike">
                          <a:effectLst/>
                          <a:latin typeface="Calibri" panose="020F0502020204030204" pitchFamily="34" charset="0"/>
                        </a:rPr>
                        <a:t>100%</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20%</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6">
                  <a:txBody>
                    <a:bodyPr/>
                    <a:lstStyle/>
                    <a:p>
                      <a:pPr algn="l" fontAlgn="t"/>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Work Experience (</a:t>
                      </a:r>
                      <a:r>
                        <a:rPr lang="en-US" sz="500" b="0" i="1" u="none" strike="noStrike">
                          <a:effectLst/>
                          <a:latin typeface="Calibri" panose="020F0502020204030204" pitchFamily="34" charset="0"/>
                        </a:rPr>
                        <a:t>refer to returnable for points allocation</a:t>
                      </a:r>
                      <a:r>
                        <a:rPr lang="en-US" sz="500" b="0" i="0" u="none" strike="noStrike">
                          <a:effectLst/>
                          <a:latin typeface="Calibri" panose="020F0502020204030204" pitchFamily="34" charset="0"/>
                        </a:rPr>
                        <a:t>)</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Education and training (</a:t>
                      </a:r>
                      <a:r>
                        <a:rPr lang="en-US" sz="500" b="0" i="1" u="none" strike="noStrike">
                          <a:effectLst/>
                          <a:latin typeface="Calibri" panose="020F0502020204030204" pitchFamily="34" charset="0"/>
                        </a:rPr>
                        <a:t>refer to returnable for points allocation</a:t>
                      </a:r>
                      <a:r>
                        <a:rPr lang="en-US" sz="500" b="0" i="0" u="none" strike="noStrike">
                          <a:effectLst/>
                          <a:latin typeface="Calibri" panose="020F0502020204030204" pitchFamily="34" charset="0"/>
                        </a:rPr>
                        <a:t>)</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Knowledge, skills and experience pertinent to the project (</a:t>
                      </a:r>
                      <a:r>
                        <a:rPr lang="en-US" sz="500" b="0" i="1" u="none" strike="noStrike">
                          <a:effectLst/>
                          <a:latin typeface="Calibri" panose="020F0502020204030204" pitchFamily="34" charset="0"/>
                        </a:rPr>
                        <a:t>refer to returnable for points allocation</a:t>
                      </a:r>
                      <a:r>
                        <a:rPr lang="en-US" sz="500" b="0" i="0" u="none" strike="noStrike">
                          <a:effectLst/>
                          <a:latin typeface="Calibri" panose="020F0502020204030204" pitchFamily="34" charset="0"/>
                        </a:rPr>
                        <a:t>)</a:t>
                      </a:r>
                      <a:br>
                        <a:rPr lang="en-US" sz="500" b="0" i="0" u="none" strike="noStrike">
                          <a:effectLst/>
                          <a:latin typeface="Calibri" panose="020F0502020204030204" pitchFamily="34" charset="0"/>
                        </a:rPr>
                      </a:br>
                      <a:endParaRPr lang="en-US" sz="500" b="0" i="0" u="none" strike="noStrike">
                        <a:effectLst/>
                        <a:latin typeface="Calibri" panose="020F0502020204030204" pitchFamily="34" charset="0"/>
                      </a:endParaRPr>
                    </a:p>
                  </a:txBody>
                  <a:tcPr marL="3006" marR="3006" marT="300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6">
                  <a:txBody>
                    <a:bodyPr/>
                    <a:lstStyle/>
                    <a:p>
                      <a:pPr algn="ctr" fontAlgn="ctr"/>
                      <a:r>
                        <a:rPr lang="en-ZA" sz="500" b="0" i="0" u="none" strike="noStrike">
                          <a:effectLst/>
                          <a:latin typeface="Calibri" panose="020F0502020204030204" pitchFamily="34" charset="0"/>
                        </a:rPr>
                        <a:t>T2.2-02</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rowSpan="6">
                  <a:txBody>
                    <a:bodyPr/>
                    <a:lstStyle/>
                    <a:p>
                      <a:pPr algn="ctr" fontAlgn="ctr"/>
                      <a:r>
                        <a:rPr lang="en-ZA" sz="500" b="0" i="0" u="none" strike="noStrike">
                          <a:effectLst/>
                          <a:latin typeface="Calibri" panose="020F0502020204030204" pitchFamily="34" charset="0"/>
                        </a:rPr>
                        <a:t>CVs of Key Persons</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7</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6">
                  <a:txBody>
                    <a:bodyPr/>
                    <a:lstStyle/>
                    <a:p>
                      <a:pPr algn="ctr" fontAlgn="ctr"/>
                      <a:r>
                        <a:rPr lang="en-ZA" sz="500" b="0" i="0" u="none" strike="noStrike">
                          <a:effectLst/>
                          <a:latin typeface="Calibri" panose="020F0502020204030204" pitchFamily="34" charset="0"/>
                        </a:rPr>
                        <a:t>35</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21897992"/>
                  </a:ext>
                </a:extLst>
              </a:tr>
              <a:tr h="201133">
                <a:tc vMerge="1">
                  <a:txBody>
                    <a:bodyPr/>
                    <a:lstStyle/>
                    <a:p>
                      <a:endParaRPr lang="en-ZA"/>
                    </a:p>
                  </a:txBody>
                  <a:tcPr/>
                </a:tc>
                <a:tc vMerge="1">
                  <a:txBody>
                    <a:bodyPr/>
                    <a:lstStyle/>
                    <a:p>
                      <a:endParaRPr lang="en-ZA"/>
                    </a:p>
                  </a:txBody>
                  <a:tcPr/>
                </a:tc>
                <a:tc>
                  <a:txBody>
                    <a:bodyPr/>
                    <a:lstStyle/>
                    <a:p>
                      <a:pPr algn="just" fontAlgn="ctr"/>
                      <a:r>
                        <a:rPr lang="en-ZA" sz="500" b="0" i="0" u="none" strike="noStrike">
                          <a:effectLst/>
                          <a:latin typeface="Calibri" panose="020F0502020204030204" pitchFamily="34" charset="0"/>
                        </a:rPr>
                        <a:t>Instrumentation Engineer </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ZA"/>
                    </a:p>
                  </a:txBody>
                  <a:tcPr/>
                </a:tc>
                <a:tc>
                  <a:txBody>
                    <a:bodyPr/>
                    <a:lstStyle/>
                    <a:p>
                      <a:pPr algn="ctr" fontAlgn="ctr"/>
                      <a:r>
                        <a:rPr lang="en-ZA" sz="500" b="0" i="0" u="none" strike="noStrike">
                          <a:effectLst/>
                          <a:latin typeface="Calibri" panose="020F0502020204030204" pitchFamily="34" charset="0"/>
                        </a:rPr>
                        <a:t>20%</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fontAlgn="ctr"/>
                      <a:r>
                        <a:rPr lang="en-ZA" sz="500" b="0" i="0" u="none" strike="noStrike">
                          <a:effectLst/>
                          <a:latin typeface="Calibri" panose="020F0502020204030204" pitchFamily="34" charset="0"/>
                        </a:rPr>
                        <a:t>7</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ZA"/>
                    </a:p>
                  </a:txBody>
                  <a:tcPr/>
                </a:tc>
                <a:extLst>
                  <a:ext uri="{0D108BD9-81ED-4DB2-BD59-A6C34878D82A}">
                    <a16:rowId xmlns:a16="http://schemas.microsoft.com/office/drawing/2014/main" val="4112492100"/>
                  </a:ext>
                </a:extLst>
              </a:tr>
              <a:tr h="201133">
                <a:tc vMerge="1">
                  <a:txBody>
                    <a:bodyPr/>
                    <a:lstStyle/>
                    <a:p>
                      <a:endParaRPr lang="en-ZA"/>
                    </a:p>
                  </a:txBody>
                  <a:tcPr/>
                </a:tc>
                <a:tc vMerge="1">
                  <a:txBody>
                    <a:bodyPr/>
                    <a:lstStyle/>
                    <a:p>
                      <a:endParaRPr lang="en-ZA"/>
                    </a:p>
                  </a:txBody>
                  <a:tcPr/>
                </a:tc>
                <a:tc>
                  <a:txBody>
                    <a:bodyPr/>
                    <a:lstStyle/>
                    <a:p>
                      <a:pPr algn="just" fontAlgn="ctr"/>
                      <a:r>
                        <a:rPr lang="en-ZA" sz="500" b="0" i="0" u="none" strike="noStrike">
                          <a:effectLst/>
                          <a:latin typeface="Calibri" panose="020F0502020204030204" pitchFamily="34" charset="0"/>
                        </a:rPr>
                        <a:t>Instrumentation Technician</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ZA"/>
                    </a:p>
                  </a:txBody>
                  <a:tcPr/>
                </a:tc>
                <a:tc>
                  <a:txBody>
                    <a:bodyPr/>
                    <a:lstStyle/>
                    <a:p>
                      <a:pPr algn="ctr" fontAlgn="ctr"/>
                      <a:r>
                        <a:rPr lang="en-ZA" sz="500" b="0" i="0" u="none" strike="noStrike">
                          <a:effectLst/>
                          <a:latin typeface="Calibri" panose="020F0502020204030204" pitchFamily="34" charset="0"/>
                        </a:rPr>
                        <a:t>18%</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fontAlgn="ctr"/>
                      <a:r>
                        <a:rPr lang="en-ZA" sz="500" b="0" i="0" u="none" strike="noStrike">
                          <a:effectLst/>
                          <a:latin typeface="Calibri" panose="020F0502020204030204" pitchFamily="34" charset="0"/>
                        </a:rPr>
                        <a:t>6</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ZA"/>
                    </a:p>
                  </a:txBody>
                  <a:tcPr/>
                </a:tc>
                <a:extLst>
                  <a:ext uri="{0D108BD9-81ED-4DB2-BD59-A6C34878D82A}">
                    <a16:rowId xmlns:a16="http://schemas.microsoft.com/office/drawing/2014/main" val="1647405568"/>
                  </a:ext>
                </a:extLst>
              </a:tr>
              <a:tr h="201133">
                <a:tc vMerge="1">
                  <a:txBody>
                    <a:bodyPr/>
                    <a:lstStyle/>
                    <a:p>
                      <a:endParaRPr lang="en-ZA"/>
                    </a:p>
                  </a:txBody>
                  <a:tcPr/>
                </a:tc>
                <a:tc vMerge="1">
                  <a:txBody>
                    <a:bodyPr/>
                    <a:lstStyle/>
                    <a:p>
                      <a:endParaRPr lang="en-ZA"/>
                    </a:p>
                  </a:txBody>
                  <a:tcPr/>
                </a:tc>
                <a:tc>
                  <a:txBody>
                    <a:bodyPr/>
                    <a:lstStyle/>
                    <a:p>
                      <a:pPr algn="just" fontAlgn="ctr"/>
                      <a:r>
                        <a:rPr lang="en-ZA" sz="500" b="0" i="0" u="none" strike="noStrike">
                          <a:effectLst/>
                          <a:latin typeface="Calibri" panose="020F0502020204030204" pitchFamily="34" charset="0"/>
                        </a:rPr>
                        <a:t>Integration Architect</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ZA"/>
                    </a:p>
                  </a:txBody>
                  <a:tcPr/>
                </a:tc>
                <a:tc>
                  <a:txBody>
                    <a:bodyPr/>
                    <a:lstStyle/>
                    <a:p>
                      <a:pPr algn="ctr" fontAlgn="ctr"/>
                      <a:r>
                        <a:rPr lang="en-ZA" sz="500" b="0" i="0" u="none" strike="noStrike">
                          <a:effectLst/>
                          <a:latin typeface="Calibri" panose="020F0502020204030204" pitchFamily="34" charset="0"/>
                        </a:rPr>
                        <a:t>14%</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fontAlgn="ctr"/>
                      <a:r>
                        <a:rPr lang="en-ZA" sz="500" b="0" i="0" u="none" strike="noStrike">
                          <a:effectLst/>
                          <a:latin typeface="Calibri" panose="020F0502020204030204" pitchFamily="34" charset="0"/>
                        </a:rPr>
                        <a:t>5</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ZA"/>
                    </a:p>
                  </a:txBody>
                  <a:tcPr/>
                </a:tc>
                <a:extLst>
                  <a:ext uri="{0D108BD9-81ED-4DB2-BD59-A6C34878D82A}">
                    <a16:rowId xmlns:a16="http://schemas.microsoft.com/office/drawing/2014/main" val="1893062678"/>
                  </a:ext>
                </a:extLst>
              </a:tr>
              <a:tr h="201133">
                <a:tc vMerge="1">
                  <a:txBody>
                    <a:bodyPr/>
                    <a:lstStyle/>
                    <a:p>
                      <a:endParaRPr lang="en-ZA"/>
                    </a:p>
                  </a:txBody>
                  <a:tcPr/>
                </a:tc>
                <a:tc vMerge="1">
                  <a:txBody>
                    <a:bodyPr/>
                    <a:lstStyle/>
                    <a:p>
                      <a:endParaRPr lang="en-ZA"/>
                    </a:p>
                  </a:txBody>
                  <a:tcPr/>
                </a:tc>
                <a:tc>
                  <a:txBody>
                    <a:bodyPr/>
                    <a:lstStyle/>
                    <a:p>
                      <a:pPr algn="l" fontAlgn="ctr"/>
                      <a:r>
                        <a:rPr lang="en-ZA" sz="500" b="0" i="0" u="none" strike="noStrike">
                          <a:effectLst/>
                          <a:latin typeface="Calibri" panose="020F0502020204030204" pitchFamily="34" charset="0"/>
                        </a:rPr>
                        <a:t>Azure Cloud Architect</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ZA"/>
                    </a:p>
                  </a:txBody>
                  <a:tcPr/>
                </a:tc>
                <a:tc>
                  <a:txBody>
                    <a:bodyPr/>
                    <a:lstStyle/>
                    <a:p>
                      <a:pPr algn="ctr" fontAlgn="ctr"/>
                      <a:r>
                        <a:rPr lang="en-ZA" sz="500" b="0" i="0" u="none" strike="noStrike">
                          <a:effectLst/>
                          <a:latin typeface="Calibri" panose="020F0502020204030204" pitchFamily="34" charset="0"/>
                        </a:rPr>
                        <a:t>14%</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fontAlgn="ctr"/>
                      <a:r>
                        <a:rPr lang="en-ZA" sz="500" b="0" i="0" u="none" strike="noStrike">
                          <a:effectLst/>
                          <a:latin typeface="Calibri" panose="020F0502020204030204" pitchFamily="34" charset="0"/>
                        </a:rPr>
                        <a:t>5</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ZA"/>
                    </a:p>
                  </a:txBody>
                  <a:tcPr/>
                </a:tc>
                <a:extLst>
                  <a:ext uri="{0D108BD9-81ED-4DB2-BD59-A6C34878D82A}">
                    <a16:rowId xmlns:a16="http://schemas.microsoft.com/office/drawing/2014/main" val="1195012139"/>
                  </a:ext>
                </a:extLst>
              </a:tr>
              <a:tr h="201133">
                <a:tc vMerge="1">
                  <a:txBody>
                    <a:bodyPr/>
                    <a:lstStyle/>
                    <a:p>
                      <a:endParaRPr lang="en-ZA"/>
                    </a:p>
                  </a:txBody>
                  <a:tcPr/>
                </a:tc>
                <a:tc vMerge="1">
                  <a:txBody>
                    <a:bodyPr/>
                    <a:lstStyle/>
                    <a:p>
                      <a:endParaRPr lang="en-ZA"/>
                    </a:p>
                  </a:txBody>
                  <a:tcPr/>
                </a:tc>
                <a:tc>
                  <a:txBody>
                    <a:bodyPr/>
                    <a:lstStyle/>
                    <a:p>
                      <a:pPr algn="l" fontAlgn="ctr"/>
                      <a:r>
                        <a:rPr lang="en-ZA" sz="500" b="0" i="0" u="none" strike="noStrike">
                          <a:effectLst/>
                          <a:latin typeface="Calibri" panose="020F0502020204030204" pitchFamily="34" charset="0"/>
                        </a:rPr>
                        <a:t>Dashboard Developer</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lang="en-ZA"/>
                    </a:p>
                  </a:txBody>
                  <a:tcPr/>
                </a:tc>
                <a:tc>
                  <a:txBody>
                    <a:bodyPr/>
                    <a:lstStyle/>
                    <a:p>
                      <a:pPr algn="ctr" fontAlgn="ctr"/>
                      <a:r>
                        <a:rPr lang="en-ZA" sz="500" b="0" i="0" u="none" strike="noStrike">
                          <a:effectLst/>
                          <a:latin typeface="Calibri" panose="020F0502020204030204" pitchFamily="34" charset="0"/>
                        </a:rPr>
                        <a:t>14%</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fontAlgn="ctr"/>
                      <a:r>
                        <a:rPr lang="en-ZA" sz="500" b="0" i="0" u="none" strike="noStrike">
                          <a:effectLst/>
                          <a:latin typeface="Calibri" panose="020F0502020204030204" pitchFamily="34" charset="0"/>
                        </a:rPr>
                        <a:t>5</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lang="en-ZA"/>
                    </a:p>
                  </a:txBody>
                  <a:tcPr/>
                </a:tc>
                <a:extLst>
                  <a:ext uri="{0D108BD9-81ED-4DB2-BD59-A6C34878D82A}">
                    <a16:rowId xmlns:a16="http://schemas.microsoft.com/office/drawing/2014/main" val="3391669795"/>
                  </a:ext>
                </a:extLst>
              </a:tr>
              <a:tr h="725032">
                <a:tc rowSpan="2">
                  <a:txBody>
                    <a:bodyPr/>
                    <a:lstStyle/>
                    <a:p>
                      <a:pPr algn="ctr" fontAlgn="ctr"/>
                      <a:r>
                        <a:rPr lang="en-ZA" sz="500" b="1" i="0" u="none" strike="noStrike">
                          <a:effectLst/>
                          <a:latin typeface="Calibri" panose="020F0502020204030204" pitchFamily="34" charset="0"/>
                        </a:rPr>
                        <a:t>Previous Experience  </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l" fontAlgn="ctr"/>
                      <a:r>
                        <a:rPr lang="en-US" sz="500" b="0" i="0" u="none" strike="noStrike">
                          <a:effectLst/>
                          <a:latin typeface="Calibri" panose="020F0502020204030204" pitchFamily="34" charset="0"/>
                        </a:rPr>
                        <a:t> Tenderers are required to demonstrate their company’s past experience within the last 10 years in delivering similar services to various logistics/trucking/mining companies with mobile equipment greater than 150 units (“of a minimum value of R5m per project”) , rendering services to companies with multiple sites and providing a cloud-based solution using mobile connectivity in relation to the Employer’s scope of services. Tenderers must submit a detailed reference list with contact details of existing customers, detailing the services/works conducted for the customer and provide completion or handover certificates. </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ZA" sz="500" b="0" i="0" u="none" strike="noStrike">
                          <a:effectLst/>
                          <a:latin typeface="Calibri" panose="020F0502020204030204" pitchFamily="34" charset="0"/>
                        </a:rPr>
                        <a:t>Proof of experience demonstrating the design, supply and installation of IoT-based automation hardware for fixed bulk storage fuel tanks, fuel dispenser pumps, mobile bowsers, self-bunded containerized tanks and fuel consuming mobile equipment</a:t>
                      </a:r>
                      <a:br>
                        <a:rPr lang="en-ZA" sz="500" b="0" i="0" u="none" strike="noStrike">
                          <a:effectLst/>
                          <a:latin typeface="Calibri" panose="020F0502020204030204" pitchFamily="34" charset="0"/>
                        </a:rPr>
                      </a:br>
                      <a:endParaRPr lang="en-ZA" sz="500" b="0" i="0" u="none" strike="noStrike">
                        <a:effectLst/>
                        <a:latin typeface="Calibri" panose="020F0502020204030204" pitchFamily="34" charset="0"/>
                      </a:endParaRP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fontAlgn="ctr"/>
                      <a:r>
                        <a:rPr lang="en-ZA" sz="500" b="0" i="0" u="none" strike="noStrike">
                          <a:effectLst/>
                          <a:latin typeface="Calibri" panose="020F0502020204030204" pitchFamily="34" charset="0"/>
                        </a:rPr>
                        <a:t>100%</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50%</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US" sz="500" b="0" i="0" u="none" strike="noStrike">
                          <a:effectLst/>
                          <a:latin typeface="Calibri" panose="020F0502020204030204" pitchFamily="34" charset="0"/>
                        </a:rPr>
                        <a:t>The tenderer has submitted no information or inadequate information to determine a score = 0 points                                                                                                                                  The tenderer completed 1 similar service/project = 20 points                                                                                                                                                                                                         The tenderer completed 2 similar services/projects  = 40 points                                                                                                                                                                                                               The tenderer completed 3 similar services/projects  = 60 points                                                                                                                                                                                                       The tenderer completed 4 similar services/projects  = 80 points                                                                                                                                                                                                        The tenderer completed 5 and more similar services/projects  = 100 points</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T2.2-03</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Previous Experience</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15</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fontAlgn="ctr"/>
                      <a:r>
                        <a:rPr lang="en-ZA" sz="500" b="0" i="0" u="none" strike="noStrike" dirty="0">
                          <a:effectLst/>
                          <a:latin typeface="Calibri" panose="020F0502020204030204" pitchFamily="34" charset="0"/>
                        </a:rPr>
                        <a:t>30</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8086005"/>
                  </a:ext>
                </a:extLst>
              </a:tr>
              <a:tr h="1577775">
                <a:tc vMerge="1">
                  <a:txBody>
                    <a:bodyPr/>
                    <a:lstStyle/>
                    <a:p>
                      <a:endParaRPr lang="en-ZA"/>
                    </a:p>
                  </a:txBody>
                  <a:tcPr/>
                </a:tc>
                <a:tc vMerge="1">
                  <a:txBody>
                    <a:bodyPr/>
                    <a:lstStyle/>
                    <a:p>
                      <a:endParaRPr lang="en-ZA"/>
                    </a:p>
                  </a:txBody>
                  <a:tcPr/>
                </a:tc>
                <a:tc>
                  <a:txBody>
                    <a:bodyPr/>
                    <a:lstStyle/>
                    <a:p>
                      <a:pPr algn="l" fontAlgn="ctr"/>
                      <a:r>
                        <a:rPr lang="en-US" sz="500" b="0" i="0" u="none" strike="noStrike">
                          <a:effectLst/>
                          <a:latin typeface="Calibri" panose="020F0502020204030204" pitchFamily="34" charset="0"/>
                        </a:rPr>
                        <a:t>Proof of experience demonstrating the design and development of fuel management dashboards integrated with other business systems and IoT-based fuel management automation hardware</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lang="en-ZA"/>
                    </a:p>
                  </a:txBody>
                  <a:tcPr/>
                </a:tc>
                <a:tc>
                  <a:txBody>
                    <a:bodyPr/>
                    <a:lstStyle/>
                    <a:p>
                      <a:pPr algn="ctr" fontAlgn="ctr"/>
                      <a:r>
                        <a:rPr lang="en-ZA" sz="500" b="0" i="0" u="none" strike="noStrike">
                          <a:effectLst/>
                          <a:latin typeface="Calibri" panose="020F0502020204030204" pitchFamily="34" charset="0"/>
                        </a:rPr>
                        <a:t>50%</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US" sz="500" b="0" i="0" u="none" strike="noStrike" dirty="0">
                          <a:effectLst/>
                          <a:latin typeface="Calibri" panose="020F0502020204030204" pitchFamily="34" charset="0"/>
                        </a:rPr>
                        <a:t>The </a:t>
                      </a:r>
                      <a:r>
                        <a:rPr lang="en-US" sz="500" b="0" i="0" u="none" strike="noStrike" dirty="0" err="1">
                          <a:effectLst/>
                          <a:latin typeface="Calibri" panose="020F0502020204030204" pitchFamily="34" charset="0"/>
                        </a:rPr>
                        <a:t>tendeer</a:t>
                      </a:r>
                      <a:r>
                        <a:rPr lang="en-US" sz="500" b="0" i="0" u="none" strike="noStrike" dirty="0">
                          <a:effectLst/>
                          <a:latin typeface="Calibri" panose="020F0502020204030204" pitchFamily="34" charset="0"/>
                        </a:rPr>
                        <a:t> has submitted no information or inadequate information to determine a score = 0 points                                                                                                                                   The tenderer completed 1 similar service/project = 20 points                                                                                                                                                                                                         The tenderer completed 2 similar services/projects  = 40 points                                                                                                                                                                                                               The tenderer completed 3 similar services/projects  = 60 points                                                                                                                                                                                                       The tenderer completed 4 similar services/projects  = 80 points                                                                                                                                                                                                        The tenderer completed 5 and more similar services/projects  = 100 points</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T2.2-03</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Previous Experience</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dirty="0">
                          <a:effectLst/>
                          <a:latin typeface="Calibri" panose="020F0502020204030204" pitchFamily="34" charset="0"/>
                        </a:rPr>
                        <a:t>15</a:t>
                      </a:r>
                    </a:p>
                  </a:txBody>
                  <a:tcPr marL="3006" marR="3006" marT="30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lang="en-ZA"/>
                    </a:p>
                  </a:txBody>
                  <a:tcPr/>
                </a:tc>
                <a:extLst>
                  <a:ext uri="{0D108BD9-81ED-4DB2-BD59-A6C34878D82A}">
                    <a16:rowId xmlns:a16="http://schemas.microsoft.com/office/drawing/2014/main" val="492780283"/>
                  </a:ext>
                </a:extLst>
              </a:tr>
            </a:tbl>
          </a:graphicData>
        </a:graphic>
      </p:graphicFrame>
    </p:spTree>
    <p:extLst>
      <p:ext uri="{BB962C8B-B14F-4D97-AF65-F5344CB8AC3E}">
        <p14:creationId xmlns:p14="http://schemas.microsoft.com/office/powerpoint/2010/main" val="13650688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E57FAB-D8DB-8F64-B62D-7D3CF552CB2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ABB69E7-69AD-28EA-9D1A-865DEFED8D64}"/>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ZA" dirty="0">
              <a:latin typeface="+mj-lt"/>
            </a:endParaRPr>
          </a:p>
        </p:txBody>
      </p:sp>
      <p:sp>
        <p:nvSpPr>
          <p:cNvPr id="19" name="Title 18">
            <a:extLst>
              <a:ext uri="{FF2B5EF4-FFF2-40B4-BE49-F238E27FC236}">
                <a16:creationId xmlns:a16="http://schemas.microsoft.com/office/drawing/2014/main" id="{35C5428C-3CFE-6266-BD55-C4DD1FBBAA75}"/>
              </a:ext>
            </a:extLst>
          </p:cNvPr>
          <p:cNvSpPr>
            <a:spLocks noGrp="1"/>
          </p:cNvSpPr>
          <p:nvPr>
            <p:ph type="title"/>
          </p:nvPr>
        </p:nvSpPr>
        <p:spPr>
          <a:xfrm>
            <a:off x="283474" y="143397"/>
            <a:ext cx="10079725" cy="400110"/>
          </a:xfrm>
        </p:spPr>
        <p:txBody>
          <a:bodyPr/>
          <a:lstStyle/>
          <a:p>
            <a:r>
              <a:rPr lang="en-US" sz="2000" dirty="0">
                <a:latin typeface="+mj-lt"/>
              </a:rPr>
              <a:t>Technical Evaluation </a:t>
            </a:r>
          </a:p>
        </p:txBody>
      </p:sp>
      <p:pic>
        <p:nvPicPr>
          <p:cNvPr id="11" name="Picture 10">
            <a:extLst>
              <a:ext uri="{FF2B5EF4-FFF2-40B4-BE49-F238E27FC236}">
                <a16:creationId xmlns:a16="http://schemas.microsoft.com/office/drawing/2014/main" id="{A3824807-90D9-8451-7B82-EE292C024F67}"/>
              </a:ext>
            </a:extLst>
          </p:cNvPr>
          <p:cNvPicPr>
            <a:picLocks noChangeAspect="1"/>
          </p:cNvPicPr>
          <p:nvPr/>
        </p:nvPicPr>
        <p:blipFill>
          <a:blip r:embed="rId3"/>
          <a:stretch>
            <a:fillRect/>
          </a:stretch>
        </p:blipFill>
        <p:spPr>
          <a:xfrm>
            <a:off x="0" y="2047193"/>
            <a:ext cx="12192000" cy="2763613"/>
          </a:xfrm>
          <a:prstGeom prst="rect">
            <a:avLst/>
          </a:prstGeom>
          <a:ln w="12700">
            <a:solidFill>
              <a:schemeClr val="tx1"/>
            </a:solidFill>
          </a:ln>
        </p:spPr>
      </p:pic>
    </p:spTree>
    <p:extLst>
      <p:ext uri="{BB962C8B-B14F-4D97-AF65-F5344CB8AC3E}">
        <p14:creationId xmlns:p14="http://schemas.microsoft.com/office/powerpoint/2010/main" val="10988355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01CE7F-A8A9-D4BA-5720-57848BE06EE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EB65F63-7B5A-EA5F-9C4A-6AF8E449B9CD}"/>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ZA" dirty="0">
              <a:latin typeface="+mj-lt"/>
            </a:endParaRPr>
          </a:p>
        </p:txBody>
      </p:sp>
      <p:sp>
        <p:nvSpPr>
          <p:cNvPr id="19" name="Title 18">
            <a:extLst>
              <a:ext uri="{FF2B5EF4-FFF2-40B4-BE49-F238E27FC236}">
                <a16:creationId xmlns:a16="http://schemas.microsoft.com/office/drawing/2014/main" id="{AD175A54-DDBE-64AC-6B50-0E612C1D3B26}"/>
              </a:ext>
            </a:extLst>
          </p:cNvPr>
          <p:cNvSpPr>
            <a:spLocks noGrp="1"/>
          </p:cNvSpPr>
          <p:nvPr>
            <p:ph type="title"/>
          </p:nvPr>
        </p:nvSpPr>
        <p:spPr>
          <a:xfrm>
            <a:off x="283474" y="143397"/>
            <a:ext cx="10079725" cy="400110"/>
          </a:xfrm>
        </p:spPr>
        <p:txBody>
          <a:bodyPr/>
          <a:lstStyle/>
          <a:p>
            <a:r>
              <a:rPr lang="en-US" sz="2000" dirty="0">
                <a:latin typeface="+mj-lt"/>
              </a:rPr>
              <a:t>Technical Presentation Evaluation</a:t>
            </a:r>
          </a:p>
        </p:txBody>
      </p:sp>
      <p:sp>
        <p:nvSpPr>
          <p:cNvPr id="24" name="TextBox 23">
            <a:extLst>
              <a:ext uri="{FF2B5EF4-FFF2-40B4-BE49-F238E27FC236}">
                <a16:creationId xmlns:a16="http://schemas.microsoft.com/office/drawing/2014/main" id="{D474C019-FFC7-0CCF-96E7-A1F73B0022A7}"/>
              </a:ext>
            </a:extLst>
          </p:cNvPr>
          <p:cNvSpPr txBox="1"/>
          <p:nvPr/>
        </p:nvSpPr>
        <p:spPr>
          <a:xfrm>
            <a:off x="169563" y="1303267"/>
            <a:ext cx="11505402" cy="2310569"/>
          </a:xfrm>
          <a:prstGeom prst="rect">
            <a:avLst/>
          </a:prstGeom>
          <a:noFill/>
          <a:ln w="12700" cap="flat" cmpd="sng" algn="ctr">
            <a:noFill/>
            <a:prstDash val="solid"/>
            <a:miter lim="800000"/>
          </a:ln>
          <a:effectLst/>
        </p:spPr>
        <p:txBody>
          <a:bodyPr wrap="square" lIns="91440" tIns="45720" rIns="91440" bIns="45720" rtlCol="0" anchor="t">
            <a:spAutoFit/>
          </a:bodyPr>
          <a:lstStyle/>
          <a:p>
            <a:pPr defTabSz="955675">
              <a:lnSpc>
                <a:spcPct val="150000"/>
              </a:lnSpc>
              <a:spcBef>
                <a:spcPct val="0"/>
              </a:spcBef>
              <a:spcAft>
                <a:spcPct val="0"/>
              </a:spcAft>
              <a:defRPr/>
            </a:pPr>
            <a:r>
              <a:rPr lang="en-US" sz="1400" b="1" i="0" u="none" strike="noStrike" baseline="0" dirty="0">
                <a:solidFill>
                  <a:srgbClr val="C00000"/>
                </a:solidFill>
                <a:latin typeface="Tahoma" panose="020B0604030504040204" pitchFamily="34" charset="0"/>
              </a:rPr>
              <a:t>Using the technical presentation evaluation scorecard, the presentation </a:t>
            </a:r>
            <a:r>
              <a:rPr lang="en-US" sz="1400" b="1" dirty="0">
                <a:solidFill>
                  <a:srgbClr val="C00000"/>
                </a:solidFill>
                <a:latin typeface="Tahoma" panose="020B0604030504040204" pitchFamily="34" charset="0"/>
              </a:rPr>
              <a:t>criteria will be tested and scored in accordance with the following schedule</a:t>
            </a:r>
            <a:r>
              <a:rPr lang="en-US" sz="1400" b="0" i="0" u="none" strike="noStrike" baseline="0" dirty="0">
                <a:solidFill>
                  <a:srgbClr val="C00000"/>
                </a:solidFill>
                <a:latin typeface="Tahoma" panose="020B0604030504040204" pitchFamily="34" charset="0"/>
              </a:rPr>
              <a:t>:</a:t>
            </a:r>
            <a:endParaRPr lang="en-US" sz="1400" b="1" i="0" u="none" strike="noStrike" kern="0" baseline="0" dirty="0">
              <a:solidFill>
                <a:srgbClr val="C00000"/>
              </a:solidFill>
              <a:latin typeface="Tahoma" panose="020B0604030504040204" pitchFamily="34" charset="0"/>
              <a:ea typeface="+mn-lt"/>
              <a:cs typeface="+mn-lt"/>
            </a:endParaRPr>
          </a:p>
          <a:p>
            <a:pPr defTabSz="955675">
              <a:lnSpc>
                <a:spcPct val="150000"/>
              </a:lnSpc>
              <a:spcBef>
                <a:spcPct val="0"/>
              </a:spcBef>
              <a:spcAft>
                <a:spcPct val="0"/>
              </a:spcAft>
              <a:defRPr/>
            </a:pPr>
            <a:endParaRPr lang="en-US" sz="1400" b="1" kern="0" dirty="0">
              <a:solidFill>
                <a:srgbClr val="C00000"/>
              </a:solidFill>
              <a:ea typeface="+mn-lt"/>
              <a:cs typeface="+mn-lt"/>
            </a:endParaRPr>
          </a:p>
          <a:p>
            <a:pPr marL="263525" indent="-263525" defTabSz="955675" fontAlgn="base">
              <a:lnSpc>
                <a:spcPct val="150000"/>
              </a:lnSpc>
              <a:buFont typeface="Arial" panose="020B0604020202020204" pitchFamily="34" charset="0"/>
              <a:buChar char="•"/>
              <a:defRPr/>
            </a:pPr>
            <a:r>
              <a:rPr lang="en-US" sz="1400" kern="0" dirty="0" err="1">
                <a:solidFill>
                  <a:prstClr val="black"/>
                </a:solidFill>
                <a:ea typeface="+mn-lt"/>
                <a:cs typeface="+mn-lt"/>
              </a:rPr>
              <a:t>Annnexure</a:t>
            </a:r>
            <a:r>
              <a:rPr lang="en-US" sz="1400" kern="0" dirty="0">
                <a:solidFill>
                  <a:prstClr val="black"/>
                </a:solidFill>
                <a:ea typeface="+mn-lt"/>
                <a:cs typeface="+mn-lt"/>
              </a:rPr>
              <a:t> F – Presentations &amp; Live Demo</a:t>
            </a:r>
          </a:p>
          <a:p>
            <a:pPr defTabSz="955675" fontAlgn="base">
              <a:lnSpc>
                <a:spcPct val="150000"/>
              </a:lnSpc>
              <a:defRPr/>
            </a:pPr>
            <a:endParaRPr lang="en-US" sz="1400" kern="0" dirty="0">
              <a:solidFill>
                <a:prstClr val="black"/>
              </a:solidFill>
              <a:ea typeface="+mn-lt"/>
              <a:cs typeface="+mn-lt"/>
            </a:endParaRPr>
          </a:p>
          <a:p>
            <a:pPr marL="263525" indent="-263525" defTabSz="955675">
              <a:lnSpc>
                <a:spcPct val="150000"/>
              </a:lnSpc>
              <a:buFont typeface="Arial" panose="020B0604020202020204" pitchFamily="34" charset="0"/>
              <a:buChar char="•"/>
              <a:defRPr/>
            </a:pPr>
            <a:r>
              <a:rPr lang="en-US" sz="1400" b="1" kern="0" dirty="0">
                <a:highlight>
                  <a:srgbClr val="FFFF00"/>
                </a:highlight>
                <a:ea typeface="+mn-lt"/>
                <a:cs typeface="+mn-lt"/>
              </a:rPr>
              <a:t>Note: The minimum technical threshold is 70 points</a:t>
            </a:r>
          </a:p>
          <a:p>
            <a:pPr marL="263525" indent="-263525" defTabSz="955675">
              <a:lnSpc>
                <a:spcPct val="150000"/>
              </a:lnSpc>
              <a:buFont typeface="Arial" panose="020B0604020202020204" pitchFamily="34" charset="0"/>
              <a:buChar char="•"/>
              <a:defRPr/>
            </a:pPr>
            <a:endParaRPr lang="en-US" sz="1400" kern="0" dirty="0">
              <a:solidFill>
                <a:prstClr val="black"/>
              </a:solidFill>
            </a:endParaRPr>
          </a:p>
        </p:txBody>
      </p:sp>
      <p:pic>
        <p:nvPicPr>
          <p:cNvPr id="3" name="Picture 2">
            <a:extLst>
              <a:ext uri="{FF2B5EF4-FFF2-40B4-BE49-F238E27FC236}">
                <a16:creationId xmlns:a16="http://schemas.microsoft.com/office/drawing/2014/main" id="{E05EEA79-0F26-7813-2823-161F4F9C2297}"/>
              </a:ext>
            </a:extLst>
          </p:cNvPr>
          <p:cNvPicPr>
            <a:picLocks noChangeAspect="1"/>
          </p:cNvPicPr>
          <p:nvPr/>
        </p:nvPicPr>
        <p:blipFill>
          <a:blip r:embed="rId3"/>
          <a:stretch>
            <a:fillRect/>
          </a:stretch>
        </p:blipFill>
        <p:spPr>
          <a:xfrm>
            <a:off x="6834321" y="2078573"/>
            <a:ext cx="4840644" cy="3761558"/>
          </a:xfrm>
          <a:prstGeom prst="rect">
            <a:avLst/>
          </a:prstGeom>
        </p:spPr>
      </p:pic>
    </p:spTree>
    <p:extLst>
      <p:ext uri="{BB962C8B-B14F-4D97-AF65-F5344CB8AC3E}">
        <p14:creationId xmlns:p14="http://schemas.microsoft.com/office/powerpoint/2010/main" val="32629883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E490BB-7FA3-1788-27F9-7C0BF4D7481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3BA751B-083D-20E9-0D54-5AEC803A893E}"/>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ZA" dirty="0">
              <a:latin typeface="+mj-lt"/>
            </a:endParaRPr>
          </a:p>
        </p:txBody>
      </p:sp>
      <p:sp>
        <p:nvSpPr>
          <p:cNvPr id="19" name="Title 18">
            <a:extLst>
              <a:ext uri="{FF2B5EF4-FFF2-40B4-BE49-F238E27FC236}">
                <a16:creationId xmlns:a16="http://schemas.microsoft.com/office/drawing/2014/main" id="{BD2A720A-590B-7A80-EF53-A3DD4558E006}"/>
              </a:ext>
            </a:extLst>
          </p:cNvPr>
          <p:cNvSpPr>
            <a:spLocks noGrp="1"/>
          </p:cNvSpPr>
          <p:nvPr>
            <p:ph type="title"/>
          </p:nvPr>
        </p:nvSpPr>
        <p:spPr>
          <a:xfrm>
            <a:off x="283474" y="143397"/>
            <a:ext cx="10079725" cy="400110"/>
          </a:xfrm>
        </p:spPr>
        <p:txBody>
          <a:bodyPr/>
          <a:lstStyle/>
          <a:p>
            <a:r>
              <a:rPr lang="en-US" sz="2000" dirty="0">
                <a:latin typeface="+mj-lt"/>
              </a:rPr>
              <a:t>Technical Presentation Evaluation</a:t>
            </a:r>
          </a:p>
        </p:txBody>
      </p:sp>
      <p:graphicFrame>
        <p:nvGraphicFramePr>
          <p:cNvPr id="3" name="Table 2">
            <a:extLst>
              <a:ext uri="{FF2B5EF4-FFF2-40B4-BE49-F238E27FC236}">
                <a16:creationId xmlns:a16="http://schemas.microsoft.com/office/drawing/2014/main" id="{0D9F19DB-62FC-58E8-69F1-BA087227B74D}"/>
              </a:ext>
            </a:extLst>
          </p:cNvPr>
          <p:cNvGraphicFramePr>
            <a:graphicFrameLocks noGrp="1"/>
          </p:cNvGraphicFramePr>
          <p:nvPr>
            <p:extLst>
              <p:ext uri="{D42A27DB-BD31-4B8C-83A1-F6EECF244321}">
                <p14:modId xmlns:p14="http://schemas.microsoft.com/office/powerpoint/2010/main" val="2167576065"/>
              </p:ext>
            </p:extLst>
          </p:nvPr>
        </p:nvGraphicFramePr>
        <p:xfrm>
          <a:off x="283474" y="1303267"/>
          <a:ext cx="10955140" cy="5091569"/>
        </p:xfrm>
        <a:graphic>
          <a:graphicData uri="http://schemas.openxmlformats.org/drawingml/2006/table">
            <a:tbl>
              <a:tblPr/>
              <a:tblGrid>
                <a:gridCol w="1203721">
                  <a:extLst>
                    <a:ext uri="{9D8B030D-6E8A-4147-A177-3AD203B41FA5}">
                      <a16:colId xmlns:a16="http://schemas.microsoft.com/office/drawing/2014/main" val="3937871562"/>
                    </a:ext>
                  </a:extLst>
                </a:gridCol>
                <a:gridCol w="2266580">
                  <a:extLst>
                    <a:ext uri="{9D8B030D-6E8A-4147-A177-3AD203B41FA5}">
                      <a16:colId xmlns:a16="http://schemas.microsoft.com/office/drawing/2014/main" val="2493540671"/>
                    </a:ext>
                  </a:extLst>
                </a:gridCol>
                <a:gridCol w="1069263">
                  <a:extLst>
                    <a:ext uri="{9D8B030D-6E8A-4147-A177-3AD203B41FA5}">
                      <a16:colId xmlns:a16="http://schemas.microsoft.com/office/drawing/2014/main" val="972447523"/>
                    </a:ext>
                  </a:extLst>
                </a:gridCol>
                <a:gridCol w="5109411">
                  <a:extLst>
                    <a:ext uri="{9D8B030D-6E8A-4147-A177-3AD203B41FA5}">
                      <a16:colId xmlns:a16="http://schemas.microsoft.com/office/drawing/2014/main" val="2665893198"/>
                    </a:ext>
                  </a:extLst>
                </a:gridCol>
                <a:gridCol w="416180">
                  <a:extLst>
                    <a:ext uri="{9D8B030D-6E8A-4147-A177-3AD203B41FA5}">
                      <a16:colId xmlns:a16="http://schemas.microsoft.com/office/drawing/2014/main" val="204853766"/>
                    </a:ext>
                  </a:extLst>
                </a:gridCol>
                <a:gridCol w="448194">
                  <a:extLst>
                    <a:ext uri="{9D8B030D-6E8A-4147-A177-3AD203B41FA5}">
                      <a16:colId xmlns:a16="http://schemas.microsoft.com/office/drawing/2014/main" val="2576031428"/>
                    </a:ext>
                  </a:extLst>
                </a:gridCol>
                <a:gridCol w="441791">
                  <a:extLst>
                    <a:ext uri="{9D8B030D-6E8A-4147-A177-3AD203B41FA5}">
                      <a16:colId xmlns:a16="http://schemas.microsoft.com/office/drawing/2014/main" val="290595886"/>
                    </a:ext>
                  </a:extLst>
                </a:gridCol>
              </a:tblGrid>
              <a:tr h="113904">
                <a:tc gridSpan="7">
                  <a:txBody>
                    <a:bodyPr/>
                    <a:lstStyle/>
                    <a:p>
                      <a:pPr algn="ctr" fontAlgn="ctr"/>
                      <a:r>
                        <a:rPr lang="en-ZA" sz="500" b="1" i="0" u="sng" strike="noStrike">
                          <a:effectLst/>
                          <a:latin typeface="Calibri" panose="020F0502020204030204" pitchFamily="34" charset="0"/>
                        </a:rPr>
                        <a:t>TECHNICAL PRESENTATION EVALUATION</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227845829"/>
                  </a:ext>
                </a:extLst>
              </a:tr>
              <a:tr h="392336">
                <a:tc gridSpan="7">
                  <a:txBody>
                    <a:bodyPr/>
                    <a:lstStyle/>
                    <a:p>
                      <a:pPr algn="l" fontAlgn="ctr"/>
                      <a:r>
                        <a:rPr lang="en-US" sz="500" b="1" i="0" u="none" strike="noStrike">
                          <a:effectLst/>
                          <a:latin typeface="Calibri" panose="020F0502020204030204" pitchFamily="34" charset="0"/>
                        </a:rPr>
                        <a:t>DESCRIPTION OF THE WORKS: CUSTOM DESIGN, SUPPLY, INSTALLATION, CONFIGURATION, TESTING AND COMMISSIONING OF A FUEL MANAGEMENT SYSTEM FOR TRANSNET SOC LIMITED (REG. NO. 1990/000900/30) OPERATING AS TRANSNET PORT TERMINALS (HEREINAFTER REFERRED TO AS “TPT”), AT THE RICHARD’S BAY, DURBAN, EASTERN CAPE AND WESTERN CAPE TERMINALS</a:t>
                      </a:r>
                      <a:br>
                        <a:rPr lang="en-US" sz="500" b="1" i="0" u="none" strike="noStrike">
                          <a:effectLst/>
                          <a:latin typeface="Calibri" panose="020F0502020204030204" pitchFamily="34" charset="0"/>
                        </a:rPr>
                      </a:br>
                      <a:endParaRPr lang="en-US" sz="500" b="1" i="0" u="none" strike="noStrike">
                        <a:effectLst/>
                        <a:latin typeface="Calibri" panose="020F0502020204030204" pitchFamily="34" charset="0"/>
                      </a:endParaRP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175386258"/>
                  </a:ext>
                </a:extLst>
              </a:tr>
              <a:tr h="223590">
                <a:tc>
                  <a:txBody>
                    <a:bodyPr/>
                    <a:lstStyle/>
                    <a:p>
                      <a:pPr algn="ctr" fontAlgn="ctr"/>
                      <a:r>
                        <a:rPr lang="en-ZA" sz="500" b="1" i="0" u="none" strike="noStrike">
                          <a:effectLst/>
                          <a:latin typeface="Calibri" panose="020F0502020204030204" pitchFamily="34" charset="0"/>
                        </a:rPr>
                        <a:t>Evaluation Criteria</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ZA" sz="500" b="1" i="0" u="none" strike="noStrike">
                          <a:effectLst/>
                          <a:latin typeface="Calibri" panose="020F0502020204030204" pitchFamily="34" charset="0"/>
                        </a:rPr>
                        <a:t>Description</a:t>
                      </a:r>
                    </a:p>
                  </a:txBody>
                  <a:tcPr marL="3073" marR="3073" marT="307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ctr" fontAlgn="ctr"/>
                      <a:r>
                        <a:rPr lang="en-ZA" sz="500" b="1" i="0" u="none" strike="noStrike">
                          <a:effectLst/>
                          <a:latin typeface="Calibri" panose="020F0502020204030204" pitchFamily="34" charset="0"/>
                        </a:rPr>
                        <a:t> </a:t>
                      </a:r>
                    </a:p>
                  </a:txBody>
                  <a:tcPr marL="3073" marR="3073" marT="307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a:txBody>
                    <a:bodyPr/>
                    <a:lstStyle/>
                    <a:p>
                      <a:pPr algn="ctr" fontAlgn="ctr"/>
                      <a:r>
                        <a:rPr lang="en-ZA" sz="500" b="1" i="0" u="none" strike="noStrike">
                          <a:effectLst/>
                          <a:latin typeface="Calibri" panose="020F0502020204030204" pitchFamily="34" charset="0"/>
                        </a:rPr>
                        <a:t>Returnable Schedule</a:t>
                      </a:r>
                    </a:p>
                  </a:txBody>
                  <a:tcPr marL="3073" marR="3073" marT="307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1" i="0" u="none" strike="noStrike">
                          <a:effectLst/>
                          <a:latin typeface="Calibri" panose="020F0502020204030204" pitchFamily="34" charset="0"/>
                        </a:rPr>
                        <a:t>Criteria</a:t>
                      </a:r>
                      <a:br>
                        <a:rPr lang="en-ZA" sz="500" b="1" i="0" u="none" strike="noStrike">
                          <a:effectLst/>
                          <a:latin typeface="Calibri" panose="020F0502020204030204" pitchFamily="34" charset="0"/>
                        </a:rPr>
                      </a:br>
                      <a:r>
                        <a:rPr lang="en-ZA" sz="500" b="1" i="0" u="none" strike="noStrike">
                          <a:effectLst/>
                          <a:latin typeface="Calibri" panose="020F0502020204030204" pitchFamily="34" charset="0"/>
                        </a:rPr>
                        <a:t>Yes/No</a:t>
                      </a:r>
                    </a:p>
                  </a:txBody>
                  <a:tcPr marL="3073" marR="3073" marT="30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1" i="0" u="none" strike="noStrike">
                          <a:effectLst/>
                          <a:latin typeface="Calibri" panose="020F0502020204030204" pitchFamily="34" charset="0"/>
                        </a:rPr>
                        <a:t>Weighting</a:t>
                      </a:r>
                    </a:p>
                  </a:txBody>
                  <a:tcPr marL="3073" marR="3073" marT="307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33824839"/>
                  </a:ext>
                </a:extLst>
              </a:tr>
              <a:tr h="113904">
                <a:tc>
                  <a:txBody>
                    <a:bodyPr/>
                    <a:lstStyle/>
                    <a:p>
                      <a:pPr algn="ctr" fontAlgn="ctr"/>
                      <a:r>
                        <a:rPr lang="en-ZA" sz="500" b="1" i="0" u="none" strike="noStrike">
                          <a:effectLst/>
                          <a:latin typeface="Calibri" panose="020F0502020204030204" pitchFamily="34" charset="0"/>
                        </a:rPr>
                        <a:t> </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ZA" sz="500" b="1" i="0" u="none" strike="noStrike">
                          <a:effectLst/>
                          <a:latin typeface="Calibri" panose="020F0502020204030204" pitchFamily="34" charset="0"/>
                        </a:rPr>
                        <a:t> </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1" i="0" u="none" strike="noStrike">
                          <a:effectLst/>
                          <a:latin typeface="Calibri" panose="020F0502020204030204" pitchFamily="34" charset="0"/>
                        </a:rPr>
                        <a:t>Weighting</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1" i="0" u="none" strike="noStrike">
                          <a:effectLst/>
                          <a:latin typeface="Calibri" panose="020F0502020204030204" pitchFamily="34" charset="0"/>
                        </a:rPr>
                        <a:t>Scoring</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1" i="0" u="none" strike="noStrike">
                          <a:effectLst/>
                          <a:latin typeface="Calibri" panose="020F0502020204030204" pitchFamily="34" charset="0"/>
                        </a:rPr>
                        <a:t> </a:t>
                      </a:r>
                    </a:p>
                  </a:txBody>
                  <a:tcPr marL="3073" marR="3073" marT="3073"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1" i="0" u="none" strike="noStrike">
                          <a:effectLst/>
                          <a:latin typeface="Calibri" panose="020F0502020204030204" pitchFamily="34" charset="0"/>
                        </a:rPr>
                        <a:t> </a:t>
                      </a:r>
                    </a:p>
                  </a:txBody>
                  <a:tcPr marL="3073" marR="3073" marT="3073"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1" i="0" u="none" strike="noStrike">
                          <a:effectLst/>
                          <a:latin typeface="Calibri" panose="020F0502020204030204" pitchFamily="34" charset="0"/>
                        </a:rPr>
                        <a:t> </a:t>
                      </a:r>
                    </a:p>
                  </a:txBody>
                  <a:tcPr marL="3073" marR="3073" marT="3073"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0345839"/>
                  </a:ext>
                </a:extLst>
              </a:tr>
              <a:tr h="1050327">
                <a:tc>
                  <a:txBody>
                    <a:bodyPr/>
                    <a:lstStyle/>
                    <a:p>
                      <a:pPr algn="l" fontAlgn="ctr"/>
                      <a:r>
                        <a:rPr lang="en-US" sz="500" b="1" i="0" u="none" strike="noStrike">
                          <a:effectLst/>
                          <a:latin typeface="Calibri" panose="020F0502020204030204" pitchFamily="34" charset="0"/>
                        </a:rPr>
                        <a:t>Case Study Presentaion of High-Level Approach: In the form of a block diagrams </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US" sz="500" b="0" i="0" u="none" strike="noStrike">
                          <a:effectLst/>
                          <a:latin typeface="Calibri" panose="020F0502020204030204" pitchFamily="34" charset="0"/>
                        </a:rPr>
                        <a:t>Tenderers are required to demonstrate the approach taken from award to hand over, for a real-life case study/implementation similar to the technical scope of services</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100%</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US" sz="500" b="0" i="0" u="none" strike="noStrike">
                          <a:effectLst/>
                          <a:latin typeface="Calibri" panose="020F0502020204030204" pitchFamily="34" charset="0"/>
                        </a:rPr>
                        <a:t>The presentation addressed 0% of the demonstration requirements = 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not acceptable &amp; only addressed 20% of the demonstration requirements = 2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poor, &amp; only addressed 40% of the scope demonstration requirements = 4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generic,  only addressed 60% of the scope demonstration requirements, &amp; is not tailored to address the specified scope objectives &amp; requirements  = 6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satisfactory, only addressed 80% of the scope demonstration requirements, &amp; moderately addressed specified scope objectives &amp; requirements  = 8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exceptional, addressed 100% of the scope demonstration requirements, &amp; fully addressed all specified scope objectives &amp; requirements  = 100 points</a:t>
                      </a:r>
                      <a:br>
                        <a:rPr lang="en-US" sz="500" b="0" i="0" u="none" strike="noStrike">
                          <a:effectLst/>
                          <a:latin typeface="Calibri" panose="020F0502020204030204" pitchFamily="34" charset="0"/>
                        </a:rPr>
                      </a:br>
                      <a:br>
                        <a:rPr lang="en-US" sz="500" b="0" i="0" u="none" strike="noStrike">
                          <a:effectLst/>
                          <a:latin typeface="Calibri" panose="020F0502020204030204" pitchFamily="34" charset="0"/>
                        </a:rPr>
                      </a:br>
                      <a:br>
                        <a:rPr lang="en-US" sz="500" b="0" i="0" u="none" strike="noStrike">
                          <a:effectLst/>
                          <a:latin typeface="Calibri" panose="020F0502020204030204" pitchFamily="34" charset="0"/>
                        </a:rPr>
                      </a:br>
                      <a:br>
                        <a:rPr lang="en-US" sz="500" b="0" i="0" u="none" strike="noStrike">
                          <a:effectLst/>
                          <a:latin typeface="Calibri" panose="020F0502020204030204" pitchFamily="34" charset="0"/>
                        </a:rPr>
                      </a:br>
                      <a:endParaRPr lang="en-US" sz="500" b="0" i="0" u="none" strike="noStrike">
                        <a:effectLst/>
                        <a:latin typeface="Calibri" panose="020F0502020204030204" pitchFamily="34" charset="0"/>
                      </a:endParaRP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T2.2-05</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500" b="0" i="0" u="none" strike="noStrike">
                          <a:effectLst/>
                          <a:latin typeface="Calibri" panose="020F0502020204030204" pitchFamily="34" charset="0"/>
                        </a:rPr>
                        <a:t>Presentations &amp; Live Demo </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500" b="0" i="0" u="none" strike="noStrike">
                          <a:effectLst/>
                          <a:latin typeface="Calibri" panose="020F0502020204030204" pitchFamily="34" charset="0"/>
                        </a:rPr>
                        <a:t>10</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62518414"/>
                  </a:ext>
                </a:extLst>
              </a:tr>
              <a:tr h="1050327">
                <a:tc>
                  <a:txBody>
                    <a:bodyPr/>
                    <a:lstStyle/>
                    <a:p>
                      <a:pPr algn="l" fontAlgn="ctr"/>
                      <a:r>
                        <a:rPr lang="en-US" sz="500" b="1" i="0" u="none" strike="noStrike">
                          <a:effectLst/>
                          <a:latin typeface="Calibri" panose="020F0502020204030204" pitchFamily="34" charset="0"/>
                        </a:rPr>
                        <a:t>Case Study Presentation of Design Proposal </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ZA" sz="500" b="0" i="0" u="none" strike="noStrike">
                          <a:effectLst/>
                          <a:latin typeface="Calibri" panose="020F0502020204030204" pitchFamily="34" charset="0"/>
                        </a:rPr>
                        <a:t>Tenderers are required to demonstrate the design proposal for a similar real-life case study/implementation with the following design components: automation hardware design, data acquisition design &amp; setup, dashboard software architecture &amp; system design blueprint , cloud environment &amp; data integration architecture, system integration architecture, integrationa architecture to ERP platform (i.e. SAP) – APIs, implementation plan, roll out plan (multi-site deployment), training &amp; changement plan </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100%</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r>
                        <a:rPr lang="en-US" sz="500" b="0" i="0" u="none" strike="noStrike">
                          <a:effectLst/>
                          <a:latin typeface="Calibri" panose="020F0502020204030204" pitchFamily="34" charset="0"/>
                        </a:rPr>
                        <a:t>The presentation addressed 0% of the demonstration requirements = 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not acceptable &amp; only addressed 20% of the demonstration requirements = 2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poor, &amp; only addressed 40% of the scope demonstration requirements = 4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generic,  only addressed 60% of the scope demonstration requirements, &amp; is not tailored to address the specified scope objectives &amp; requirements  = 6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satisfactory, only addressed 80% of the scope demonstration requirements, &amp; moderately addressed specified scope objectives &amp; requirements  = 8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exceptional, addressed 100% of the scope demonstration requirements, &amp; fully addressed all specified scope objectives &amp; requirements  = 100 points</a:t>
                      </a:r>
                      <a:br>
                        <a:rPr lang="en-US" sz="500" b="0" i="0" u="none" strike="noStrike">
                          <a:effectLst/>
                          <a:latin typeface="Calibri" panose="020F0502020204030204" pitchFamily="34" charset="0"/>
                        </a:rPr>
                      </a:br>
                      <a:br>
                        <a:rPr lang="en-US" sz="500" b="0" i="0" u="none" strike="noStrike">
                          <a:effectLst/>
                          <a:latin typeface="Calibri" panose="020F0502020204030204" pitchFamily="34" charset="0"/>
                        </a:rPr>
                      </a:br>
                      <a:br>
                        <a:rPr lang="en-US" sz="500" b="0" i="0" u="none" strike="noStrike">
                          <a:effectLst/>
                          <a:latin typeface="Calibri" panose="020F0502020204030204" pitchFamily="34" charset="0"/>
                        </a:rPr>
                      </a:br>
                      <a:br>
                        <a:rPr lang="en-US" sz="500" b="0" i="0" u="none" strike="noStrike">
                          <a:effectLst/>
                          <a:latin typeface="Calibri" panose="020F0502020204030204" pitchFamily="34" charset="0"/>
                        </a:rPr>
                      </a:br>
                      <a:endParaRPr lang="en-US" sz="500" b="0" i="0" u="none" strike="noStrike">
                        <a:effectLst/>
                        <a:latin typeface="Calibri" panose="020F0502020204030204" pitchFamily="34" charset="0"/>
                      </a:endParaRPr>
                    </a:p>
                  </a:txBody>
                  <a:tcPr marL="3073" marR="3073" marT="307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T2.2-05</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Presentations &amp; Live Demo </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35</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0074725"/>
                  </a:ext>
                </a:extLst>
              </a:tr>
              <a:tr h="1096854">
                <a:tc>
                  <a:txBody>
                    <a:bodyPr/>
                    <a:lstStyle/>
                    <a:p>
                      <a:pPr algn="l" fontAlgn="ctr"/>
                      <a:r>
                        <a:rPr lang="en-US" sz="500" b="1" i="0" u="none" strike="noStrike">
                          <a:effectLst/>
                          <a:latin typeface="Calibri" panose="020F0502020204030204" pitchFamily="34" charset="0"/>
                        </a:rPr>
                        <a:t>Case Study Presentation of Dashboard Functionalities &amp; Capabilities, including Live Demo</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ZA" sz="500" b="0" i="0" u="none" strike="noStrike">
                          <a:effectLst/>
                          <a:latin typeface="Calibri" panose="020F0502020204030204" pitchFamily="34" charset="0"/>
                        </a:rPr>
                        <a:t>Tenderers are required to demonstrate a real-life case  study/implementation  similar to the technical scope of services with the following dashboard core functionalities &amp; capabilities: real-time cloud based fuel transaction (fuel receiving &amp; dispensing) data collecting, visualization, tracking, monitoring, reporting, analytics, reconciliation of fuel transactions, scalability, flexibility, multi-user capability, user-authentication, customizable alerts &amp; notifications, customizable reports, fuel usage insights, tank level monitoring &amp; management, multi-site visualization, monitoring &amp; reporting, centralized visualization, monitoring &amp; reporting</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100%</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r>
                        <a:rPr lang="en-US" sz="500" b="0" i="0" u="none" strike="noStrike">
                          <a:effectLst/>
                          <a:latin typeface="Calibri" panose="020F0502020204030204" pitchFamily="34" charset="0"/>
                        </a:rPr>
                        <a:t>The presentation addressed 0% of the demonstration requirements = 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not acceptable &amp; only addressed 20% of the demonstration requirements = 2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poor, &amp; only addressed 40% of the scope demonstration requirements = 4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generic,  only addressed 60% of the scope demonstration requirements, &amp; is not tailored to address the specified scope objectives &amp; requirements  = 6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satisfactory, only addressed 80% of the scope demonstration requirements, &amp; moderately addressed specified scope objectives &amp; requirements  = 8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exceptional, addressed 100% of the scope demonstration requirements, &amp; fully addressed all specified scope objectives &amp; requirements  = 100 points</a:t>
                      </a:r>
                      <a:br>
                        <a:rPr lang="en-US" sz="500" b="0" i="0" u="none" strike="noStrike">
                          <a:effectLst/>
                          <a:latin typeface="Calibri" panose="020F0502020204030204" pitchFamily="34" charset="0"/>
                        </a:rPr>
                      </a:br>
                      <a:br>
                        <a:rPr lang="en-US" sz="500" b="0" i="0" u="none" strike="noStrike">
                          <a:effectLst/>
                          <a:latin typeface="Calibri" panose="020F0502020204030204" pitchFamily="34" charset="0"/>
                        </a:rPr>
                      </a:br>
                      <a:br>
                        <a:rPr lang="en-US" sz="500" b="0" i="0" u="none" strike="noStrike">
                          <a:effectLst/>
                          <a:latin typeface="Calibri" panose="020F0502020204030204" pitchFamily="34" charset="0"/>
                        </a:rPr>
                      </a:br>
                      <a:br>
                        <a:rPr lang="en-US" sz="500" b="0" i="0" u="none" strike="noStrike">
                          <a:effectLst/>
                          <a:latin typeface="Calibri" panose="020F0502020204030204" pitchFamily="34" charset="0"/>
                        </a:rPr>
                      </a:br>
                      <a:endParaRPr lang="en-US" sz="500" b="0" i="0" u="none" strike="noStrike">
                        <a:effectLst/>
                        <a:latin typeface="Calibri" panose="020F0502020204030204" pitchFamily="34" charset="0"/>
                      </a:endParaRPr>
                    </a:p>
                  </a:txBody>
                  <a:tcPr marL="3073" marR="3073" marT="307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T2.2-05</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Presentations &amp; Live Demo </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35</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9699"/>
                  </a:ext>
                </a:extLst>
              </a:tr>
              <a:tr h="1050327">
                <a:tc>
                  <a:txBody>
                    <a:bodyPr/>
                    <a:lstStyle/>
                    <a:p>
                      <a:pPr algn="l" fontAlgn="ctr"/>
                      <a:r>
                        <a:rPr lang="en-US" sz="500" b="1" i="0" u="none" strike="noStrike">
                          <a:effectLst/>
                          <a:latin typeface="Calibri" panose="020F0502020204030204" pitchFamily="34" charset="0"/>
                        </a:rPr>
                        <a:t>Case Study Presentation of Company Organogram &amp; Full System Maintenance &amp; Support  </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US" sz="500" b="0" i="0" u="none" strike="noStrike">
                          <a:effectLst/>
                          <a:latin typeface="Calibri" panose="020F0502020204030204" pitchFamily="34" charset="0"/>
                        </a:rPr>
                        <a:t> Tenderers are required to present their company organogram &amp;  demonstrate the following maintenance &amp; support components for a real-life case study/implementation similar to the technical scope of services: recovery time, response time, 24/7 technical support, automation hardware replacements, repairs, re-calibrations and re-configurations, cloud environment maintenance (data storage, data back-up recovery, data handling, data security) warranties &amp; guarantees for automation hardware &amp; full system Installation, software licensing, skills transfer plan</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100%</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r>
                        <a:rPr lang="en-US" sz="500" b="0" i="0" u="none" strike="noStrike">
                          <a:effectLst/>
                          <a:latin typeface="Calibri" panose="020F0502020204030204" pitchFamily="34" charset="0"/>
                        </a:rPr>
                        <a:t>The presentation addressed 0% of the demonstration requirements = 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not acceptable &amp; only addressed 20% of the demonstration requirements = 2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poor, &amp; only addressed 40% of the scope demonstration requirements = 4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generic,  only addressed 60% of the scope demonstration requirements, &amp; is not tailored to address the specified scope objectives &amp; requirements  = 6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satisfactory, only addressed 80% of the scope demonstration requirements, &amp; moderately addressed specified scope objectives &amp; requirements  = 80 points</a:t>
                      </a:r>
                      <a:br>
                        <a:rPr lang="en-US" sz="500" b="0" i="0" u="none" strike="noStrike">
                          <a:effectLst/>
                          <a:latin typeface="Calibri" panose="020F0502020204030204" pitchFamily="34" charset="0"/>
                        </a:rPr>
                      </a:br>
                      <a:r>
                        <a:rPr lang="en-US" sz="500" b="0" i="0" u="none" strike="noStrike">
                          <a:effectLst/>
                          <a:latin typeface="Calibri" panose="020F0502020204030204" pitchFamily="34" charset="0"/>
                        </a:rPr>
                        <a:t>The presentation  is exceptional, addressed 100% of the scope demonstration requirements, &amp; fully addressed all specified scope objectives &amp; requirements  = 100 points</a:t>
                      </a:r>
                      <a:br>
                        <a:rPr lang="en-US" sz="500" b="0" i="0" u="none" strike="noStrike">
                          <a:effectLst/>
                          <a:latin typeface="Calibri" panose="020F0502020204030204" pitchFamily="34" charset="0"/>
                        </a:rPr>
                      </a:br>
                      <a:br>
                        <a:rPr lang="en-US" sz="500" b="0" i="0" u="none" strike="noStrike">
                          <a:effectLst/>
                          <a:latin typeface="Calibri" panose="020F0502020204030204" pitchFamily="34" charset="0"/>
                        </a:rPr>
                      </a:br>
                      <a:br>
                        <a:rPr lang="en-US" sz="500" b="0" i="0" u="none" strike="noStrike">
                          <a:effectLst/>
                          <a:latin typeface="Calibri" panose="020F0502020204030204" pitchFamily="34" charset="0"/>
                        </a:rPr>
                      </a:br>
                      <a:br>
                        <a:rPr lang="en-US" sz="500" b="0" i="0" u="none" strike="noStrike">
                          <a:effectLst/>
                          <a:latin typeface="Calibri" panose="020F0502020204030204" pitchFamily="34" charset="0"/>
                        </a:rPr>
                      </a:br>
                      <a:endParaRPr lang="en-US" sz="500" b="0" i="0" u="none" strike="noStrike">
                        <a:effectLst/>
                        <a:latin typeface="Calibri" panose="020F0502020204030204" pitchFamily="34" charset="0"/>
                      </a:endParaRPr>
                    </a:p>
                  </a:txBody>
                  <a:tcPr marL="3073" marR="3073" marT="307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T2.2-05</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a:effectLst/>
                          <a:latin typeface="Calibri" panose="020F0502020204030204" pitchFamily="34" charset="0"/>
                        </a:rPr>
                        <a:t>Presentations &amp; Live Demo </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ZA" sz="500" b="0" i="0" u="none" strike="noStrike" dirty="0">
                          <a:effectLst/>
                          <a:latin typeface="Calibri" panose="020F0502020204030204" pitchFamily="34" charset="0"/>
                        </a:rPr>
                        <a:t>20</a:t>
                      </a:r>
                    </a:p>
                  </a:txBody>
                  <a:tcPr marL="3073" marR="3073" marT="30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04656059"/>
                  </a:ext>
                </a:extLst>
              </a:tr>
            </a:tbl>
          </a:graphicData>
        </a:graphic>
      </p:graphicFrame>
    </p:spTree>
    <p:extLst>
      <p:ext uri="{BB962C8B-B14F-4D97-AF65-F5344CB8AC3E}">
        <p14:creationId xmlns:p14="http://schemas.microsoft.com/office/powerpoint/2010/main" val="5762914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8C7DF0D-CF3D-BC6E-2657-3E6DE238EA93}"/>
              </a:ext>
            </a:extLst>
          </p:cNvPr>
          <p:cNvSpPr>
            <a:spLocks noGrp="1"/>
          </p:cNvSpPr>
          <p:nvPr>
            <p:ph type="body" sz="quarter" idx="16"/>
          </p:nvPr>
        </p:nvSpPr>
        <p:spPr>
          <a:xfrm>
            <a:off x="293634" y="528118"/>
            <a:ext cx="5907785" cy="337593"/>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p:txBody>
      </p:sp>
      <p:sp>
        <p:nvSpPr>
          <p:cNvPr id="19" name="Title 18">
            <a:extLst>
              <a:ext uri="{FF2B5EF4-FFF2-40B4-BE49-F238E27FC236}">
                <a16:creationId xmlns:a16="http://schemas.microsoft.com/office/drawing/2014/main" id="{5A7DDE8A-B245-7F8D-DA6F-32478A5A14BA}"/>
              </a:ext>
            </a:extLst>
          </p:cNvPr>
          <p:cNvSpPr>
            <a:spLocks noGrp="1"/>
          </p:cNvSpPr>
          <p:nvPr>
            <p:ph type="title"/>
          </p:nvPr>
        </p:nvSpPr>
        <p:spPr>
          <a:xfrm>
            <a:off x="283474" y="143397"/>
            <a:ext cx="10079725" cy="400110"/>
          </a:xfrm>
        </p:spPr>
        <p:txBody>
          <a:bodyPr/>
          <a:lstStyle/>
          <a:p>
            <a:r>
              <a:rPr lang="en-US" sz="2000" dirty="0">
                <a:latin typeface="+mn-lt"/>
              </a:rPr>
              <a:t>Activity Schedule</a:t>
            </a:r>
          </a:p>
        </p:txBody>
      </p:sp>
      <p:sp>
        <p:nvSpPr>
          <p:cNvPr id="8" name="Rectangle 2">
            <a:extLst>
              <a:ext uri="{FF2B5EF4-FFF2-40B4-BE49-F238E27FC236}">
                <a16:creationId xmlns:a16="http://schemas.microsoft.com/office/drawing/2014/main" id="{46FAF519-634D-C589-4E72-DE06AB215FFF}"/>
              </a:ext>
            </a:extLst>
          </p:cNvPr>
          <p:cNvSpPr>
            <a:spLocks noChangeArrowheads="1"/>
          </p:cNvSpPr>
          <p:nvPr/>
        </p:nvSpPr>
        <p:spPr bwMode="auto">
          <a:xfrm>
            <a:off x="-11726403" y="630238"/>
            <a:ext cx="2878250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graphicFrame>
        <p:nvGraphicFramePr>
          <p:cNvPr id="4" name="Table 3">
            <a:extLst>
              <a:ext uri="{FF2B5EF4-FFF2-40B4-BE49-F238E27FC236}">
                <a16:creationId xmlns:a16="http://schemas.microsoft.com/office/drawing/2014/main" id="{73B7A566-A2F7-5482-472E-A64E2B181417}"/>
              </a:ext>
            </a:extLst>
          </p:cNvPr>
          <p:cNvGraphicFramePr>
            <a:graphicFrameLocks noGrp="1"/>
          </p:cNvGraphicFramePr>
          <p:nvPr>
            <p:extLst>
              <p:ext uri="{D42A27DB-BD31-4B8C-83A1-F6EECF244321}">
                <p14:modId xmlns:p14="http://schemas.microsoft.com/office/powerpoint/2010/main" val="3743001984"/>
              </p:ext>
            </p:extLst>
          </p:nvPr>
        </p:nvGraphicFramePr>
        <p:xfrm>
          <a:off x="1342352" y="1174169"/>
          <a:ext cx="7961968" cy="5219798"/>
        </p:xfrm>
        <a:graphic>
          <a:graphicData uri="http://schemas.openxmlformats.org/drawingml/2006/table">
            <a:tbl>
              <a:tblPr firstRow="1" firstCol="1" bandRow="1"/>
              <a:tblGrid>
                <a:gridCol w="592252">
                  <a:extLst>
                    <a:ext uri="{9D8B030D-6E8A-4147-A177-3AD203B41FA5}">
                      <a16:colId xmlns:a16="http://schemas.microsoft.com/office/drawing/2014/main" val="667920474"/>
                    </a:ext>
                  </a:extLst>
                </a:gridCol>
                <a:gridCol w="5501267">
                  <a:extLst>
                    <a:ext uri="{9D8B030D-6E8A-4147-A177-3AD203B41FA5}">
                      <a16:colId xmlns:a16="http://schemas.microsoft.com/office/drawing/2014/main" val="2136577208"/>
                    </a:ext>
                  </a:extLst>
                </a:gridCol>
                <a:gridCol w="1868449">
                  <a:extLst>
                    <a:ext uri="{9D8B030D-6E8A-4147-A177-3AD203B41FA5}">
                      <a16:colId xmlns:a16="http://schemas.microsoft.com/office/drawing/2014/main" val="3711541418"/>
                    </a:ext>
                  </a:extLst>
                </a:gridCol>
              </a:tblGrid>
              <a:tr h="295458">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tem</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ctivity Description</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p>
                      <a:pPr algn="l">
                        <a:tabLst>
                          <a:tab pos="226695" algn="l"/>
                        </a:tabLst>
                      </a:pPr>
                      <a:r>
                        <a:rPr lang="en-GB" sz="800" b="1" dirty="0">
                          <a:effectLst/>
                          <a:latin typeface="Arial" panose="020B0604020202020204" pitchFamily="34" charset="0"/>
                          <a:ea typeface="Times New Roman" panose="02020603050405020304" pitchFamily="18" charset="0"/>
                          <a:cs typeface="Times New Roman" panose="02020603050405020304" pitchFamily="18"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Cos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660897758"/>
                  </a:ext>
                </a:extLst>
              </a:tr>
              <a:tr h="309312">
                <a:tc gridSpan="3">
                  <a:txBody>
                    <a:bodyPr/>
                    <a:lstStyle/>
                    <a:p>
                      <a:pPr algn="l">
                        <a:tabLst>
                          <a:tab pos="226695" algn="l"/>
                        </a:tabLst>
                      </a:pPr>
                      <a:r>
                        <a:rPr lang="en-GB" sz="800" b="1" u="sng"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ECTION 1: PRELIMINARIES &amp; PROJECT INITIATION</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996130146"/>
                  </a:ext>
                </a:extLst>
              </a:tr>
              <a:tr h="314521">
                <a:tc>
                  <a:txBody>
                    <a:bodyPr/>
                    <a:lstStyle/>
                    <a:p>
                      <a:pPr marL="457200" indent="-457200" algn="l">
                        <a:lnSpc>
                          <a:spcPct val="115000"/>
                        </a:lnSpc>
                        <a:spcBef>
                          <a:spcPts val="600"/>
                        </a:spcBef>
                        <a:spcAft>
                          <a:spcPts val="300"/>
                        </a:spcAft>
                      </a:pPr>
                      <a:r>
                        <a:rPr lang="en-GB" sz="800">
                          <a:effectLst/>
                          <a:latin typeface="Arial" panose="020B0604020202020204" pitchFamily="34" charset="0"/>
                          <a:ea typeface="Times New Roman" panose="02020603050405020304" pitchFamily="18" charset="0"/>
                        </a:rPr>
                        <a:t>1.1</a:t>
                      </a:r>
                      <a:endParaRPr lang="en-ZA" sz="800">
                        <a:effectLst/>
                        <a:latin typeface="Arial" panose="020B0604020202020204" pitchFamily="34" charset="0"/>
                        <a:ea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lgn="l">
                        <a:tabLst>
                          <a:tab pos="226695" algn="l"/>
                        </a:tabLst>
                      </a:pPr>
                      <a:r>
                        <a:rPr lang="en-GB" sz="800">
                          <a:effectLst/>
                          <a:latin typeface="Arial" panose="020B0604020202020204" pitchFamily="34" charset="0"/>
                          <a:ea typeface="Times New Roman" panose="02020603050405020304" pitchFamily="18" charset="0"/>
                          <a:cs typeface="Times New Roman" panose="02020603050405020304" pitchFamily="18" charset="0"/>
                        </a:rPr>
                        <a:t>Participation at Kick-off Meet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7883485"/>
                  </a:ext>
                </a:extLst>
              </a:tr>
              <a:tr h="314521">
                <a:tc>
                  <a:txBody>
                    <a:bodyPr/>
                    <a:lstStyle/>
                    <a:p>
                      <a:pPr marL="457200" indent="-457200" algn="l">
                        <a:lnSpc>
                          <a:spcPct val="115000"/>
                        </a:lnSpc>
                        <a:spcBef>
                          <a:spcPts val="600"/>
                        </a:spcBef>
                        <a:spcAft>
                          <a:spcPts val="300"/>
                        </a:spcAft>
                      </a:pPr>
                      <a:r>
                        <a:rPr lang="en-GB" sz="800">
                          <a:effectLst/>
                          <a:latin typeface="Arial" panose="020B0604020202020204" pitchFamily="34" charset="0"/>
                          <a:ea typeface="Times New Roman" panose="02020603050405020304" pitchFamily="18" charset="0"/>
                        </a:rPr>
                        <a:t>1.2</a:t>
                      </a:r>
                      <a:endParaRPr lang="en-ZA" sz="800">
                        <a:effectLst/>
                        <a:latin typeface="Arial" panose="020B0604020202020204" pitchFamily="34" charset="0"/>
                        <a:ea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lgn="l">
                        <a:tabLst>
                          <a:tab pos="226695" algn="l"/>
                        </a:tabLst>
                      </a:pPr>
                      <a:r>
                        <a:rPr lang="en-GB" sz="800">
                          <a:effectLst/>
                          <a:latin typeface="Arial" panose="020B0604020202020204" pitchFamily="34" charset="0"/>
                          <a:ea typeface="Times New Roman" panose="02020603050405020304" pitchFamily="18" charset="0"/>
                          <a:cs typeface="Times New Roman" panose="02020603050405020304" pitchFamily="18" charset="0"/>
                        </a:rPr>
                        <a:t>Participation at Technical Meetings</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53646526"/>
                  </a:ext>
                </a:extLst>
              </a:tr>
              <a:tr h="285657">
                <a:tc>
                  <a:txBody>
                    <a:bodyPr/>
                    <a:lstStyle/>
                    <a:p>
                      <a:pPr marL="457200" indent="-457200" algn="l">
                        <a:spcBef>
                          <a:spcPts val="600"/>
                        </a:spcBef>
                        <a:spcAft>
                          <a:spcPts val="300"/>
                        </a:spcAft>
                        <a:tabLst>
                          <a:tab pos="547370" algn="l"/>
                        </a:tabLst>
                      </a:pPr>
                      <a:r>
                        <a:rPr lang="en-GB" sz="800">
                          <a:effectLst/>
                          <a:latin typeface="Arial" panose="020B0604020202020204" pitchFamily="34" charset="0"/>
                          <a:ea typeface="Times New Roman" panose="02020603050405020304" pitchFamily="18" charset="0"/>
                        </a:rPr>
                        <a:t>1.3</a:t>
                      </a:r>
                      <a:endParaRPr lang="en-ZA" sz="800">
                        <a:effectLst/>
                        <a:latin typeface="Arial" panose="020B0604020202020204" pitchFamily="34" charset="0"/>
                        <a:ea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tabLst>
                          <a:tab pos="226695" algn="l"/>
                        </a:tabLst>
                      </a:pPr>
                      <a:r>
                        <a:rPr lang="en-GB" sz="800">
                          <a:effectLst/>
                          <a:latin typeface="Arial" panose="020B0604020202020204" pitchFamily="34" charset="0"/>
                          <a:ea typeface="Times New Roman" panose="02020603050405020304" pitchFamily="18" charset="0"/>
                          <a:cs typeface="Times New Roman" panose="02020603050405020304" pitchFamily="18" charset="0"/>
                        </a:rPr>
                        <a:t>Baselining of Programme</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tabLst>
                          <a:tab pos="226695" algn="l"/>
                        </a:tabLst>
                      </a:pPr>
                      <a:r>
                        <a:rPr lang="en-ZA" sz="800" b="1">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72258482"/>
                  </a:ext>
                </a:extLst>
              </a:tr>
              <a:tr h="285657">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1.4</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lgn="l"/>
                      <a:r>
                        <a:rPr lang="en-GB" sz="800">
                          <a:effectLst/>
                          <a:latin typeface="Arial" panose="020B0604020202020204" pitchFamily="34" charset="0"/>
                          <a:ea typeface="Times New Roman" panose="02020603050405020304" pitchFamily="18" charset="0"/>
                          <a:cs typeface="Times New Roman" panose="02020603050405020304" pitchFamily="18" charset="0"/>
                        </a:rPr>
                        <a:t>Mobilisation of Service Provider Project Team</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4372748"/>
                  </a:ext>
                </a:extLst>
              </a:tr>
              <a:tr h="308153">
                <a:tc gridSpan="3">
                  <a:txBody>
                    <a:bodyPr/>
                    <a:lstStyle/>
                    <a:p>
                      <a:pPr algn="l">
                        <a:tabLst>
                          <a:tab pos="226695" algn="l"/>
                        </a:tabLst>
                      </a:pPr>
                      <a:r>
                        <a:rPr lang="en-GB" sz="800" b="1" u="sng">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ECTION 2: HEAD OFFICE (CENTRAL LOCATIO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583196257"/>
                  </a:ext>
                </a:extLst>
              </a:tr>
              <a:tr h="392778">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2.1</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lgn="l"/>
                      <a:r>
                        <a:rPr lang="en-GB" sz="800">
                          <a:effectLst/>
                          <a:latin typeface="Arial" panose="020B0604020202020204" pitchFamily="34" charset="0"/>
                          <a:ea typeface="Times New Roman" panose="02020603050405020304" pitchFamily="18" charset="0"/>
                          <a:cs typeface="Times New Roman" panose="02020603050405020304" pitchFamily="18" charset="0"/>
                        </a:rPr>
                        <a:t>Functional Requirement Specification (Enterprise Level)</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p>
                      <a:pPr marR="36195" algn="l"/>
                      <a:r>
                        <a:rPr lang="en-GB" sz="600" i="1">
                          <a:effectLst/>
                          <a:latin typeface="Arial" panose="020B0604020202020204" pitchFamily="34" charset="0"/>
                          <a:ea typeface="Times New Roman" panose="02020603050405020304" pitchFamily="18" charset="0"/>
                          <a:cs typeface="Times New Roman" panose="02020603050405020304" pitchFamily="18" charset="0"/>
                        </a:rPr>
                        <a:t>*note: inclusive of user customizations</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7841829"/>
                  </a:ext>
                </a:extLst>
              </a:tr>
              <a:tr h="428485">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2.2</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lgn="l"/>
                      <a:r>
                        <a:rPr lang="en-GB" sz="800" dirty="0">
                          <a:effectLst/>
                          <a:latin typeface="Arial" panose="020B0604020202020204" pitchFamily="34" charset="0"/>
                          <a:ea typeface="Times New Roman" panose="02020603050405020304" pitchFamily="18" charset="0"/>
                          <a:cs typeface="Times New Roman" panose="02020603050405020304" pitchFamily="18" charset="0"/>
                        </a:rPr>
                        <a:t>Central Dashboard Software Architecture &amp; System Design Blueprin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p>
                      <a:pPr marR="36195" algn="l"/>
                      <a:r>
                        <a:rPr lang="en-GB" sz="800" dirty="0">
                          <a:effectLst/>
                          <a:latin typeface="Arial" panose="020B0604020202020204" pitchFamily="34" charset="0"/>
                          <a:ea typeface="Times New Roman" panose="02020603050405020304" pitchFamily="18" charset="0"/>
                          <a:cs typeface="Times New Roman" panose="02020603050405020304" pitchFamily="18" charset="0"/>
                        </a:rPr>
                        <a:t>(Enterprise Level)</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tabLst>
                          <a:tab pos="226695" algn="l"/>
                        </a:tabLst>
                      </a:pPr>
                      <a:r>
                        <a:rPr lang="en-ZA" sz="8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93726501"/>
                  </a:ext>
                </a:extLst>
              </a:tr>
              <a:tr h="285657">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2.3</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lgn="l"/>
                      <a:r>
                        <a:rPr lang="en-GB" sz="800">
                          <a:effectLst/>
                          <a:latin typeface="Arial" panose="020B0604020202020204" pitchFamily="34" charset="0"/>
                          <a:ea typeface="Times New Roman" panose="02020603050405020304" pitchFamily="18" charset="0"/>
                          <a:cs typeface="Times New Roman" panose="02020603050405020304" pitchFamily="18" charset="0"/>
                        </a:rPr>
                        <a:t>Central System Dashboard Development &amp; Implementatio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23965029"/>
                  </a:ext>
                </a:extLst>
              </a:tr>
              <a:tr h="285657">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2.4</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lgn="l"/>
                      <a:r>
                        <a:rPr lang="en-GB" sz="800" dirty="0">
                          <a:effectLst/>
                          <a:latin typeface="Arial" panose="020B0604020202020204" pitchFamily="34" charset="0"/>
                          <a:ea typeface="Times New Roman" panose="02020603050405020304" pitchFamily="18" charset="0"/>
                          <a:cs typeface="Times New Roman" panose="02020603050405020304" pitchFamily="18" charset="0"/>
                        </a:rPr>
                        <a:t>Central Azure Cloud Environment Development &amp; Configuration</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6019840"/>
                  </a:ext>
                </a:extLst>
              </a:tr>
              <a:tr h="285657">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2.5</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lgn="l"/>
                      <a:r>
                        <a:rPr lang="en-GB" sz="800">
                          <a:effectLst/>
                          <a:latin typeface="Arial" panose="020B0604020202020204" pitchFamily="34" charset="0"/>
                          <a:ea typeface="Times New Roman" panose="02020603050405020304" pitchFamily="18" charset="0"/>
                          <a:cs typeface="Times New Roman" panose="02020603050405020304" pitchFamily="18" charset="0"/>
                        </a:rPr>
                        <a:t>Central System Integration with Transnet Systems</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1510828"/>
                  </a:ext>
                </a:extLst>
              </a:tr>
              <a:tr h="285657">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2.6</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lgn="l"/>
                      <a:r>
                        <a:rPr lang="en-GB" sz="800">
                          <a:effectLst/>
                          <a:latin typeface="Arial" panose="020B0604020202020204" pitchFamily="34" charset="0"/>
                          <a:ea typeface="Times New Roman" panose="02020603050405020304" pitchFamily="18" charset="0"/>
                          <a:cs typeface="Times New Roman" panose="02020603050405020304" pitchFamily="18" charset="0"/>
                        </a:rPr>
                        <a:t>Central System Training &amp; Onboard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49867429"/>
                  </a:ext>
                </a:extLst>
              </a:tr>
              <a:tr h="285657">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2.7</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lgn="l"/>
                      <a:r>
                        <a:rPr lang="en-GB" sz="800">
                          <a:effectLst/>
                          <a:latin typeface="Arial" panose="020B0604020202020204" pitchFamily="34" charset="0"/>
                          <a:ea typeface="Times New Roman" panose="02020603050405020304" pitchFamily="18" charset="0"/>
                          <a:cs typeface="Times New Roman" panose="02020603050405020304" pitchFamily="18" charset="0"/>
                        </a:rPr>
                        <a:t>Central System U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9393492"/>
                  </a:ext>
                </a:extLst>
              </a:tr>
              <a:tr h="285657">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2.8</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lgn="l"/>
                      <a:r>
                        <a:rPr lang="en-GB" sz="800">
                          <a:effectLst/>
                          <a:latin typeface="Arial" panose="020B0604020202020204" pitchFamily="34" charset="0"/>
                          <a:ea typeface="Times New Roman" panose="02020603050405020304" pitchFamily="18" charset="0"/>
                          <a:cs typeface="Times New Roman" panose="02020603050405020304" pitchFamily="18" charset="0"/>
                        </a:rPr>
                        <a:t>Central System Deploy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89520413"/>
                  </a:ext>
                </a:extLst>
              </a:tr>
              <a:tr h="285657">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2.9</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lgn="l"/>
                      <a:r>
                        <a:rPr lang="en-GB" sz="800">
                          <a:effectLst/>
                          <a:latin typeface="Arial" panose="020B0604020202020204" pitchFamily="34" charset="0"/>
                          <a:ea typeface="Times New Roman" panose="02020603050405020304" pitchFamily="18" charset="0"/>
                          <a:cs typeface="Times New Roman" panose="02020603050405020304" pitchFamily="18" charset="0"/>
                        </a:rPr>
                        <a:t>Perpetual License</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tabLst>
                          <a:tab pos="226695" algn="l"/>
                        </a:tabLst>
                      </a:pPr>
                      <a:r>
                        <a:rPr lang="en-ZA" sz="8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8195199"/>
                  </a:ext>
                </a:extLst>
              </a:tr>
              <a:tr h="285657">
                <a:tc>
                  <a:txBody>
                    <a:bodyPr/>
                    <a:lstStyle/>
                    <a:p>
                      <a:pPr algn="l">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2.10</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lgn="l"/>
                      <a:r>
                        <a:rPr lang="en-GB" sz="800">
                          <a:effectLst/>
                          <a:latin typeface="Arial" panose="020B0604020202020204" pitchFamily="34" charset="0"/>
                          <a:ea typeface="Times New Roman" panose="02020603050405020304" pitchFamily="18" charset="0"/>
                          <a:cs typeface="Times New Roman" panose="02020603050405020304" pitchFamily="18" charset="0"/>
                        </a:rPr>
                        <a:t>Project Close Out Documentatio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tabLst>
                          <a:tab pos="226695" algn="l"/>
                        </a:tabLst>
                      </a:pPr>
                      <a:r>
                        <a:rPr lang="en-ZA" sz="8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07145225"/>
                  </a:ext>
                </a:extLst>
              </a:tr>
            </a:tbl>
          </a:graphicData>
        </a:graphic>
      </p:graphicFrame>
    </p:spTree>
    <p:extLst>
      <p:ext uri="{BB962C8B-B14F-4D97-AF65-F5344CB8AC3E}">
        <p14:creationId xmlns:p14="http://schemas.microsoft.com/office/powerpoint/2010/main" val="34777175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BAA1BD-1249-C288-2826-D17B71B365B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BB84398-0A80-386F-3090-3BF89D9B8FF4}"/>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ZA" dirty="0">
              <a:latin typeface="+mj-lt"/>
            </a:endParaRPr>
          </a:p>
        </p:txBody>
      </p:sp>
      <p:sp>
        <p:nvSpPr>
          <p:cNvPr id="19" name="Title 18">
            <a:extLst>
              <a:ext uri="{FF2B5EF4-FFF2-40B4-BE49-F238E27FC236}">
                <a16:creationId xmlns:a16="http://schemas.microsoft.com/office/drawing/2014/main" id="{DA01149D-3F9B-4812-D912-A070954054F9}"/>
              </a:ext>
            </a:extLst>
          </p:cNvPr>
          <p:cNvSpPr>
            <a:spLocks noGrp="1"/>
          </p:cNvSpPr>
          <p:nvPr>
            <p:ph type="title"/>
          </p:nvPr>
        </p:nvSpPr>
        <p:spPr>
          <a:xfrm>
            <a:off x="283474" y="143397"/>
            <a:ext cx="10079725" cy="400110"/>
          </a:xfrm>
        </p:spPr>
        <p:txBody>
          <a:bodyPr/>
          <a:lstStyle/>
          <a:p>
            <a:r>
              <a:rPr lang="en-US" sz="2000" dirty="0">
                <a:latin typeface="+mn-lt"/>
              </a:rPr>
              <a:t>Activity Schedule</a:t>
            </a:r>
          </a:p>
        </p:txBody>
      </p:sp>
      <p:sp>
        <p:nvSpPr>
          <p:cNvPr id="8" name="Rectangle 2">
            <a:extLst>
              <a:ext uri="{FF2B5EF4-FFF2-40B4-BE49-F238E27FC236}">
                <a16:creationId xmlns:a16="http://schemas.microsoft.com/office/drawing/2014/main" id="{B9A696C3-BD7E-6A00-0F1D-C05AD75D1242}"/>
              </a:ext>
            </a:extLst>
          </p:cNvPr>
          <p:cNvSpPr>
            <a:spLocks noChangeArrowheads="1"/>
          </p:cNvSpPr>
          <p:nvPr/>
        </p:nvSpPr>
        <p:spPr bwMode="auto">
          <a:xfrm>
            <a:off x="-11726403" y="630238"/>
            <a:ext cx="2878250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graphicFrame>
        <p:nvGraphicFramePr>
          <p:cNvPr id="3" name="Table 2">
            <a:extLst>
              <a:ext uri="{FF2B5EF4-FFF2-40B4-BE49-F238E27FC236}">
                <a16:creationId xmlns:a16="http://schemas.microsoft.com/office/drawing/2014/main" id="{26476239-52AA-CDE1-274E-5D471B04B561}"/>
              </a:ext>
            </a:extLst>
          </p:cNvPr>
          <p:cNvGraphicFramePr>
            <a:graphicFrameLocks noGrp="1"/>
          </p:cNvGraphicFramePr>
          <p:nvPr>
            <p:extLst>
              <p:ext uri="{D42A27DB-BD31-4B8C-83A1-F6EECF244321}">
                <p14:modId xmlns:p14="http://schemas.microsoft.com/office/powerpoint/2010/main" val="2521181516"/>
              </p:ext>
            </p:extLst>
          </p:nvPr>
        </p:nvGraphicFramePr>
        <p:xfrm>
          <a:off x="1666182" y="1087438"/>
          <a:ext cx="7314308" cy="5242444"/>
        </p:xfrm>
        <a:graphic>
          <a:graphicData uri="http://schemas.openxmlformats.org/drawingml/2006/table">
            <a:tbl>
              <a:tblPr firstRow="1" firstCol="1" bandRow="1"/>
              <a:tblGrid>
                <a:gridCol w="685157">
                  <a:extLst>
                    <a:ext uri="{9D8B030D-6E8A-4147-A177-3AD203B41FA5}">
                      <a16:colId xmlns:a16="http://schemas.microsoft.com/office/drawing/2014/main" val="2121804190"/>
                    </a:ext>
                  </a:extLst>
                </a:gridCol>
                <a:gridCol w="5239263">
                  <a:extLst>
                    <a:ext uri="{9D8B030D-6E8A-4147-A177-3AD203B41FA5}">
                      <a16:colId xmlns:a16="http://schemas.microsoft.com/office/drawing/2014/main" val="1423254649"/>
                    </a:ext>
                  </a:extLst>
                </a:gridCol>
                <a:gridCol w="1389888">
                  <a:extLst>
                    <a:ext uri="{9D8B030D-6E8A-4147-A177-3AD203B41FA5}">
                      <a16:colId xmlns:a16="http://schemas.microsoft.com/office/drawing/2014/main" val="120865039"/>
                    </a:ext>
                  </a:extLst>
                </a:gridCol>
              </a:tblGrid>
              <a:tr h="297629">
                <a:tc gridSpan="3">
                  <a:txBody>
                    <a:bodyPr/>
                    <a:lstStyle/>
                    <a:p>
                      <a:pPr>
                        <a:tabLst>
                          <a:tab pos="226695" algn="l"/>
                        </a:tabLst>
                      </a:pPr>
                      <a:r>
                        <a:rPr lang="en-GB" sz="1000" b="1" u="sng" dirty="0">
                          <a:solidFill>
                            <a:srgbClr val="000000"/>
                          </a:solidFill>
                          <a:effectLst/>
                          <a:latin typeface="Arial" panose="020B0604020202020204" pitchFamily="34" charset="0"/>
                          <a:ea typeface="Calibri" panose="020F0502020204030204" pitchFamily="34" charset="0"/>
                          <a:cs typeface="Arial" panose="020B0604020202020204" pitchFamily="34" charset="0"/>
                        </a:rPr>
                        <a:t>SECTION 3: TERMINALS</a:t>
                      </a:r>
                      <a:endParaRPr lang="en-Z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589265676"/>
                  </a:ext>
                </a:extLst>
              </a:tr>
              <a:tr h="297629">
                <a:tc gridSpan="3">
                  <a:txBody>
                    <a:bodyPr/>
                    <a:lstStyle/>
                    <a:p>
                      <a:pPr>
                        <a:tabLst>
                          <a:tab pos="226695" algn="l"/>
                        </a:tabLst>
                      </a:pPr>
                      <a:r>
                        <a:rPr lang="en-GB" sz="1000" b="1" u="sng">
                          <a:solidFill>
                            <a:srgbClr val="000000"/>
                          </a:solidFill>
                          <a:effectLst/>
                          <a:latin typeface="Arial" panose="020B0604020202020204" pitchFamily="34" charset="0"/>
                          <a:ea typeface="Calibri" panose="020F0502020204030204" pitchFamily="34" charset="0"/>
                          <a:cs typeface="Arial" panose="020B0604020202020204" pitchFamily="34" charset="0"/>
                        </a:rPr>
                        <a:t>KwaZulu-Natal: Richard’s Bay Terminal</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956759440"/>
                  </a:ext>
                </a:extLst>
              </a:tr>
              <a:tr h="344236">
                <a:tc>
                  <a:txBody>
                    <a:bodyPr/>
                    <a:lstStyle/>
                    <a:p>
                      <a:pPr>
                        <a:tabLst>
                          <a:tab pos="226695" algn="l"/>
                        </a:tabLst>
                      </a:pPr>
                      <a:r>
                        <a:rPr lang="en-GB" sz="1000">
                          <a:effectLst/>
                          <a:latin typeface="Arial" panose="020B0604020202020204" pitchFamily="34" charset="0"/>
                          <a:ea typeface="Times New Roman" panose="02020603050405020304" pitchFamily="18" charset="0"/>
                          <a:cs typeface="Arial" panose="020B0604020202020204" pitchFamily="34" charset="0"/>
                        </a:rPr>
                        <a:t>3.1</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1000">
                          <a:effectLst/>
                          <a:latin typeface="Arial" panose="020B0604020202020204" pitchFamily="34" charset="0"/>
                          <a:ea typeface="Times New Roman" panose="02020603050405020304" pitchFamily="18" charset="0"/>
                          <a:cs typeface="Arial" panose="020B0604020202020204" pitchFamily="34" charset="0"/>
                        </a:rPr>
                        <a:t>Site Survey</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10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14942102"/>
                  </a:ext>
                </a:extLst>
              </a:tr>
              <a:tr h="344236">
                <a:tc>
                  <a:txBody>
                    <a:bodyPr/>
                    <a:lstStyle/>
                    <a:p>
                      <a:pPr>
                        <a:tabLst>
                          <a:tab pos="226695" algn="l"/>
                        </a:tabLst>
                      </a:pPr>
                      <a:r>
                        <a:rPr lang="en-GB" sz="1000">
                          <a:effectLst/>
                          <a:latin typeface="Arial" panose="020B0604020202020204" pitchFamily="34" charset="0"/>
                          <a:ea typeface="Times New Roman" panose="02020603050405020304" pitchFamily="18" charset="0"/>
                          <a:cs typeface="Arial" panose="020B0604020202020204" pitchFamily="34" charset="0"/>
                        </a:rPr>
                        <a:t>3.2</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1000" dirty="0">
                          <a:effectLst/>
                          <a:latin typeface="Arial" panose="020B0604020202020204" pitchFamily="34" charset="0"/>
                          <a:ea typeface="Times New Roman" panose="02020603050405020304" pitchFamily="18" charset="0"/>
                          <a:cs typeface="Arial" panose="020B0604020202020204" pitchFamily="34" charset="0"/>
                        </a:rPr>
                        <a:t>Functional Requirement Specification (Terminal Level)</a:t>
                      </a:r>
                      <a:endParaRPr lang="en-Z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10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11555627"/>
                  </a:ext>
                </a:extLst>
              </a:tr>
              <a:tr h="344236">
                <a:tc>
                  <a:txBody>
                    <a:bodyPr/>
                    <a:lstStyle/>
                    <a:p>
                      <a:pPr>
                        <a:tabLst>
                          <a:tab pos="226695" algn="l"/>
                        </a:tabLst>
                      </a:pPr>
                      <a:r>
                        <a:rPr lang="en-GB" sz="1000">
                          <a:effectLst/>
                          <a:latin typeface="Arial" panose="020B0604020202020204" pitchFamily="34" charset="0"/>
                          <a:ea typeface="Times New Roman" panose="02020603050405020304" pitchFamily="18" charset="0"/>
                          <a:cs typeface="Arial" panose="020B0604020202020204" pitchFamily="34" charset="0"/>
                        </a:rPr>
                        <a:t>3.3</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 Hardware Design</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10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38333061"/>
                  </a:ext>
                </a:extLst>
              </a:tr>
              <a:tr h="516354">
                <a:tc>
                  <a:txBody>
                    <a:bodyPr/>
                    <a:lstStyle/>
                    <a:p>
                      <a:pPr>
                        <a:tabLst>
                          <a:tab pos="226695" algn="l"/>
                        </a:tabLst>
                      </a:pPr>
                      <a:r>
                        <a:rPr lang="en-GB" sz="1000">
                          <a:effectLst/>
                          <a:latin typeface="Arial" panose="020B0604020202020204" pitchFamily="34" charset="0"/>
                          <a:ea typeface="Times New Roman" panose="02020603050405020304" pitchFamily="18" charset="0"/>
                          <a:cs typeface="Arial" panose="020B0604020202020204" pitchFamily="34" charset="0"/>
                        </a:rPr>
                        <a:t>3.4</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Data Acquisition Design</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p>
                      <a:pPr marR="36195">
                        <a:tabLst>
                          <a:tab pos="226695" algn="l"/>
                        </a:tabLst>
                      </a:pPr>
                      <a:r>
                        <a:rPr lang="en-GB"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Data Network Connectivity &amp; Communication)</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10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8942780"/>
                  </a:ext>
                </a:extLst>
              </a:tr>
              <a:tr h="344236">
                <a:tc>
                  <a:txBody>
                    <a:bodyPr/>
                    <a:lstStyle/>
                    <a:p>
                      <a:pPr>
                        <a:tabLst>
                          <a:tab pos="226695" algn="l"/>
                        </a:tabLst>
                      </a:pPr>
                      <a:r>
                        <a:rPr lang="en-GB" sz="1000">
                          <a:effectLst/>
                          <a:latin typeface="Arial" panose="020B0604020202020204" pitchFamily="34" charset="0"/>
                          <a:ea typeface="Times New Roman" panose="02020603050405020304" pitchFamily="18" charset="0"/>
                          <a:cs typeface="Arial" panose="020B0604020202020204" pitchFamily="34" charset="0"/>
                        </a:rPr>
                        <a:t>3.5</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oftware Architecture &amp; System Design Blueprint</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10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6578251"/>
                  </a:ext>
                </a:extLst>
              </a:tr>
              <a:tr h="344236">
                <a:tc>
                  <a:txBody>
                    <a:bodyPr/>
                    <a:lstStyle/>
                    <a:p>
                      <a:pPr>
                        <a:tabLst>
                          <a:tab pos="226695" algn="l"/>
                        </a:tabLst>
                      </a:pPr>
                      <a:r>
                        <a:rPr lang="en-GB" sz="1000">
                          <a:effectLst/>
                          <a:latin typeface="Arial" panose="020B0604020202020204" pitchFamily="34" charset="0"/>
                          <a:ea typeface="Times New Roman" panose="02020603050405020304" pitchFamily="18" charset="0"/>
                          <a:cs typeface="Arial" panose="020B0604020202020204" pitchFamily="34" charset="0"/>
                        </a:rPr>
                        <a:t>3.6</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vision of All System Hardware Based on Terminal Design</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10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8253259"/>
                  </a:ext>
                </a:extLst>
              </a:tr>
              <a:tr h="344236">
                <a:tc>
                  <a:txBody>
                    <a:bodyPr/>
                    <a:lstStyle/>
                    <a:p>
                      <a:pPr>
                        <a:tabLst>
                          <a:tab pos="226695" algn="l"/>
                        </a:tabLst>
                      </a:pPr>
                      <a:r>
                        <a:rPr lang="en-GB" sz="1000">
                          <a:effectLst/>
                          <a:latin typeface="Arial" panose="020B0604020202020204" pitchFamily="34" charset="0"/>
                          <a:ea typeface="Times New Roman" panose="02020603050405020304" pitchFamily="18" charset="0"/>
                          <a:cs typeface="Arial" panose="020B0604020202020204" pitchFamily="34" charset="0"/>
                        </a:rPr>
                        <a:t>3.7</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 Hardware Installations </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10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2404615"/>
                  </a:ext>
                </a:extLst>
              </a:tr>
              <a:tr h="344236">
                <a:tc>
                  <a:txBody>
                    <a:bodyPr/>
                    <a:lstStyle/>
                    <a:p>
                      <a:pPr>
                        <a:tabLst>
                          <a:tab pos="226695" algn="l"/>
                        </a:tabLst>
                      </a:pPr>
                      <a:r>
                        <a:rPr lang="en-GB" sz="1000">
                          <a:effectLst/>
                          <a:latin typeface="Arial" panose="020B0604020202020204" pitchFamily="34" charset="0"/>
                          <a:ea typeface="Times New Roman" panose="02020603050405020304" pitchFamily="18" charset="0"/>
                          <a:cs typeface="Arial" panose="020B0604020202020204" pitchFamily="34" charset="0"/>
                        </a:rPr>
                        <a:t>3.8</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Data Acquisition Setup</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10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3870422"/>
                  </a:ext>
                </a:extLst>
              </a:tr>
              <a:tr h="344236">
                <a:tc>
                  <a:txBody>
                    <a:bodyPr/>
                    <a:lstStyle/>
                    <a:p>
                      <a:pPr>
                        <a:tabLst>
                          <a:tab pos="226695" algn="l"/>
                        </a:tabLst>
                      </a:pPr>
                      <a:r>
                        <a:rPr lang="en-GB" sz="1000">
                          <a:effectLst/>
                          <a:latin typeface="Arial" panose="020B0604020202020204" pitchFamily="34" charset="0"/>
                          <a:ea typeface="Times New Roman" panose="02020603050405020304" pitchFamily="18" charset="0"/>
                          <a:cs typeface="Arial" panose="020B0604020202020204" pitchFamily="34" charset="0"/>
                        </a:rPr>
                        <a:t>3.9</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Integration into Centralised System</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10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39558965"/>
                  </a:ext>
                </a:extLst>
              </a:tr>
              <a:tr h="344236">
                <a:tc>
                  <a:txBody>
                    <a:bodyPr/>
                    <a:lstStyle/>
                    <a:p>
                      <a:pPr>
                        <a:tabLst>
                          <a:tab pos="226695" algn="l"/>
                        </a:tabLst>
                      </a:pPr>
                      <a:r>
                        <a:rPr lang="en-GB" sz="1000">
                          <a:effectLst/>
                          <a:latin typeface="Arial" panose="020B0604020202020204" pitchFamily="34" charset="0"/>
                          <a:ea typeface="Times New Roman" panose="02020603050405020304" pitchFamily="18" charset="0"/>
                          <a:cs typeface="Arial" panose="020B0604020202020204" pitchFamily="34" charset="0"/>
                        </a:rPr>
                        <a:t>3.10</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Testing &amp; Commissioning</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10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1325489"/>
                  </a:ext>
                </a:extLst>
              </a:tr>
              <a:tr h="344236">
                <a:tc>
                  <a:txBody>
                    <a:bodyPr/>
                    <a:lstStyle/>
                    <a:p>
                      <a:pPr>
                        <a:tabLst>
                          <a:tab pos="226695" algn="l"/>
                        </a:tabLst>
                      </a:pPr>
                      <a:r>
                        <a:rPr lang="en-GB" sz="1000">
                          <a:effectLst/>
                          <a:latin typeface="Tahoma" panose="020B0604030504040204" pitchFamily="34" charset="0"/>
                          <a:ea typeface="Times New Roman" panose="02020603050405020304" pitchFamily="18" charset="0"/>
                          <a:cs typeface="Times New Roman" panose="02020603050405020304" pitchFamily="18" charset="0"/>
                        </a:rPr>
                        <a:t>3.11</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10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evelop &amp; Supply Terminal User Manuals &amp; Standard Operating Procedure Document</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10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10622939"/>
                  </a:ext>
                </a:extLst>
              </a:tr>
              <a:tr h="344236">
                <a:tc>
                  <a:txBody>
                    <a:bodyPr/>
                    <a:lstStyle/>
                    <a:p>
                      <a:pPr>
                        <a:tabLst>
                          <a:tab pos="226695" algn="l"/>
                        </a:tabLst>
                      </a:pPr>
                      <a:r>
                        <a:rPr lang="en-GB" sz="1000">
                          <a:effectLst/>
                          <a:latin typeface="Tahoma" panose="020B0604030504040204" pitchFamily="34" charset="0"/>
                          <a:ea typeface="Times New Roman" panose="02020603050405020304" pitchFamily="18" charset="0"/>
                          <a:cs typeface="Times New Roman" panose="02020603050405020304" pitchFamily="18" charset="0"/>
                        </a:rPr>
                        <a:t>3.12</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10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System User Training &amp; Onboarding</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10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8664564"/>
                  </a:ext>
                </a:extLst>
              </a:tr>
              <a:tr h="344236">
                <a:tc>
                  <a:txBody>
                    <a:bodyPr/>
                    <a:lstStyle/>
                    <a:p>
                      <a:pPr>
                        <a:tabLst>
                          <a:tab pos="226695" algn="l"/>
                        </a:tabLst>
                      </a:pPr>
                      <a:r>
                        <a:rPr lang="en-ZA" sz="1000">
                          <a:solidFill>
                            <a:srgbClr val="000000"/>
                          </a:solidFill>
                          <a:effectLst/>
                          <a:latin typeface="Arial" panose="020B0604020202020204" pitchFamily="34" charset="0"/>
                          <a:ea typeface="Calibri" panose="020F0502020204030204" pitchFamily="34" charset="0"/>
                          <a:cs typeface="Arial" panose="020B0604020202020204" pitchFamily="34" charset="0"/>
                        </a:rPr>
                        <a:t>3.13</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10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UAT &amp; Deployment</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10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6189" marR="6618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99612198"/>
                  </a:ext>
                </a:extLst>
              </a:tr>
            </a:tbl>
          </a:graphicData>
        </a:graphic>
      </p:graphicFrame>
    </p:spTree>
    <p:extLst>
      <p:ext uri="{BB962C8B-B14F-4D97-AF65-F5344CB8AC3E}">
        <p14:creationId xmlns:p14="http://schemas.microsoft.com/office/powerpoint/2010/main" val="38288512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6037A-32F2-7D61-8944-477E9F0560B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9EBE23C-CABB-8709-B778-BF4488EC35A9}"/>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ZA" dirty="0">
              <a:latin typeface="+mj-lt"/>
            </a:endParaRPr>
          </a:p>
        </p:txBody>
      </p:sp>
      <p:sp>
        <p:nvSpPr>
          <p:cNvPr id="19" name="Title 18">
            <a:extLst>
              <a:ext uri="{FF2B5EF4-FFF2-40B4-BE49-F238E27FC236}">
                <a16:creationId xmlns:a16="http://schemas.microsoft.com/office/drawing/2014/main" id="{0865A873-1F93-B640-BBAF-CB7431F54AF0}"/>
              </a:ext>
            </a:extLst>
          </p:cNvPr>
          <p:cNvSpPr>
            <a:spLocks noGrp="1"/>
          </p:cNvSpPr>
          <p:nvPr>
            <p:ph type="title"/>
          </p:nvPr>
        </p:nvSpPr>
        <p:spPr>
          <a:xfrm>
            <a:off x="283474" y="143397"/>
            <a:ext cx="10079725" cy="400110"/>
          </a:xfrm>
        </p:spPr>
        <p:txBody>
          <a:bodyPr/>
          <a:lstStyle/>
          <a:p>
            <a:r>
              <a:rPr lang="en-US" sz="2000" dirty="0">
                <a:latin typeface="+mn-lt"/>
              </a:rPr>
              <a:t>Activity</a:t>
            </a:r>
            <a:r>
              <a:rPr lang="en-US" sz="2000" dirty="0">
                <a:latin typeface="+mj-lt"/>
              </a:rPr>
              <a:t> Schedule</a:t>
            </a:r>
          </a:p>
        </p:txBody>
      </p:sp>
      <p:sp>
        <p:nvSpPr>
          <p:cNvPr id="8" name="Rectangle 2">
            <a:extLst>
              <a:ext uri="{FF2B5EF4-FFF2-40B4-BE49-F238E27FC236}">
                <a16:creationId xmlns:a16="http://schemas.microsoft.com/office/drawing/2014/main" id="{71813163-CE9B-FE50-FF8B-FBFCB2D2DD3C}"/>
              </a:ext>
            </a:extLst>
          </p:cNvPr>
          <p:cNvSpPr>
            <a:spLocks noChangeArrowheads="1"/>
          </p:cNvSpPr>
          <p:nvPr/>
        </p:nvSpPr>
        <p:spPr bwMode="auto">
          <a:xfrm>
            <a:off x="-11726403" y="630238"/>
            <a:ext cx="2878250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graphicFrame>
        <p:nvGraphicFramePr>
          <p:cNvPr id="4" name="Table 3">
            <a:extLst>
              <a:ext uri="{FF2B5EF4-FFF2-40B4-BE49-F238E27FC236}">
                <a16:creationId xmlns:a16="http://schemas.microsoft.com/office/drawing/2014/main" id="{34BE92EE-6EDF-A2C2-F33C-940D17A2072D}"/>
              </a:ext>
            </a:extLst>
          </p:cNvPr>
          <p:cNvGraphicFramePr>
            <a:graphicFrameLocks noGrp="1"/>
          </p:cNvGraphicFramePr>
          <p:nvPr>
            <p:extLst>
              <p:ext uri="{D42A27DB-BD31-4B8C-83A1-F6EECF244321}">
                <p14:modId xmlns:p14="http://schemas.microsoft.com/office/powerpoint/2010/main" val="3629963231"/>
              </p:ext>
            </p:extLst>
          </p:nvPr>
        </p:nvGraphicFramePr>
        <p:xfrm>
          <a:off x="1336552" y="1087438"/>
          <a:ext cx="7973568" cy="5384692"/>
        </p:xfrm>
        <a:graphic>
          <a:graphicData uri="http://schemas.openxmlformats.org/drawingml/2006/table">
            <a:tbl>
              <a:tblPr firstRow="1" firstCol="1" bandRow="1"/>
              <a:tblGrid>
                <a:gridCol w="593115">
                  <a:extLst>
                    <a:ext uri="{9D8B030D-6E8A-4147-A177-3AD203B41FA5}">
                      <a16:colId xmlns:a16="http://schemas.microsoft.com/office/drawing/2014/main" val="624267601"/>
                    </a:ext>
                  </a:extLst>
                </a:gridCol>
                <a:gridCol w="5509282">
                  <a:extLst>
                    <a:ext uri="{9D8B030D-6E8A-4147-A177-3AD203B41FA5}">
                      <a16:colId xmlns:a16="http://schemas.microsoft.com/office/drawing/2014/main" val="2134466445"/>
                    </a:ext>
                  </a:extLst>
                </a:gridCol>
                <a:gridCol w="1871171">
                  <a:extLst>
                    <a:ext uri="{9D8B030D-6E8A-4147-A177-3AD203B41FA5}">
                      <a16:colId xmlns:a16="http://schemas.microsoft.com/office/drawing/2014/main" val="589016329"/>
                    </a:ext>
                  </a:extLst>
                </a:gridCol>
              </a:tblGrid>
              <a:tr h="154903">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tem</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ctivity Description</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p>
                      <a:pPr algn="l">
                        <a:tabLst>
                          <a:tab pos="226695" algn="l"/>
                        </a:tabLst>
                      </a:pPr>
                      <a:r>
                        <a:rPr lang="en-GB" sz="800" b="1" dirty="0">
                          <a:effectLst/>
                          <a:latin typeface="Arial" panose="020B0604020202020204" pitchFamily="34" charset="0"/>
                          <a:ea typeface="Times New Roman" panose="02020603050405020304" pitchFamily="18" charset="0"/>
                          <a:cs typeface="Times New Roman" panose="02020603050405020304" pitchFamily="18"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solidFill>
                      <a:schemeClr val="bg1">
                        <a:lumMod val="75000"/>
                      </a:schemeClr>
                    </a:solidFill>
                  </a:tcPr>
                </a:tc>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Cos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solidFill>
                      <a:schemeClr val="bg1">
                        <a:lumMod val="75000"/>
                      </a:schemeClr>
                    </a:solidFill>
                  </a:tcPr>
                </a:tc>
                <a:extLst>
                  <a:ext uri="{0D108BD9-81ED-4DB2-BD59-A6C34878D82A}">
                    <a16:rowId xmlns:a16="http://schemas.microsoft.com/office/drawing/2014/main" val="3187672015"/>
                  </a:ext>
                </a:extLst>
              </a:tr>
              <a:tr h="154903">
                <a:tc gridSpan="3">
                  <a:txBody>
                    <a:bodyPr/>
                    <a:lstStyle/>
                    <a:p>
                      <a:pPr>
                        <a:tabLst>
                          <a:tab pos="226695" algn="l"/>
                        </a:tabLst>
                      </a:pPr>
                      <a:r>
                        <a:rPr lang="en-GB" sz="800" b="1" u="sng" dirty="0">
                          <a:solidFill>
                            <a:srgbClr val="000000"/>
                          </a:solidFill>
                          <a:effectLst/>
                          <a:latin typeface="Arial" panose="020B0604020202020204" pitchFamily="34" charset="0"/>
                          <a:ea typeface="Calibri" panose="020F0502020204030204" pitchFamily="34" charset="0"/>
                          <a:cs typeface="Arial" panose="020B0604020202020204" pitchFamily="34" charset="0"/>
                        </a:rPr>
                        <a:t>KwaZulu-Natal: Durban Point Terminal</a:t>
                      </a:r>
                    </a:p>
                    <a:p>
                      <a:pPr>
                        <a:tabLst>
                          <a:tab pos="226695" algn="l"/>
                        </a:tabLst>
                      </a:pP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972755883"/>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14</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effectLst/>
                          <a:latin typeface="Arial" panose="020B0604020202020204" pitchFamily="34" charset="0"/>
                          <a:ea typeface="Times New Roman" panose="02020603050405020304" pitchFamily="18" charset="0"/>
                          <a:cs typeface="Arial" panose="020B0604020202020204" pitchFamily="34" charset="0"/>
                        </a:rPr>
                        <a:t>Site Survey</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45717119"/>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15</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effectLst/>
                          <a:latin typeface="Arial" panose="020B0604020202020204" pitchFamily="34" charset="0"/>
                          <a:ea typeface="Times New Roman" panose="02020603050405020304" pitchFamily="18" charset="0"/>
                          <a:cs typeface="Arial" panose="020B0604020202020204" pitchFamily="34" charset="0"/>
                        </a:rPr>
                        <a:t>Functional Requirement Specification (Terminal Level)</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17517352"/>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16</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 Hardware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2908307"/>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17</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ata Acquisition Design</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p>
                      <a:pPr marR="36195">
                        <a:tabLst>
                          <a:tab pos="226695" algn="l"/>
                        </a:tabLst>
                      </a:pPr>
                      <a:r>
                        <a:rPr lang="en-GB" sz="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ata Network Connectivity &amp; Communication)</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39877449"/>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18</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Design Bluepri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35311549"/>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19</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vision of All System Hardware Based on Terminal Design</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3058741"/>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20</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 Hardware Installations</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7577081"/>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21</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Data Acquisition Setup</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1034433"/>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22</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Integration into Centralised System</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8690224"/>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23</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Testing &amp; Commission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42894928"/>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24</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effectLst/>
                          <a:latin typeface="Arial" panose="020B0604020202020204" pitchFamily="34" charset="0"/>
                          <a:ea typeface="Times New Roman" panose="02020603050405020304" pitchFamily="18" charset="0"/>
                          <a:cs typeface="Times New Roman" panose="02020603050405020304" pitchFamily="18" charset="0"/>
                        </a:rPr>
                        <a:t>Develop &amp; Supply Terminal User Manuals &amp; Standard Operating Procedure Docu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1567490"/>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25</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effectLst/>
                          <a:latin typeface="Arial" panose="020B0604020202020204" pitchFamily="34" charset="0"/>
                          <a:ea typeface="Times New Roman" panose="02020603050405020304" pitchFamily="18" charset="0"/>
                          <a:cs typeface="Times New Roman" panose="02020603050405020304" pitchFamily="18" charset="0"/>
                        </a:rPr>
                        <a:t>Terminal System User Training &amp; Onboard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68323710"/>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26</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UAT &amp; Deploy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2647974"/>
                  </a:ext>
                </a:extLst>
              </a:tr>
              <a:tr h="154903">
                <a:tc gridSpan="3">
                  <a:txBody>
                    <a:bodyPr/>
                    <a:lstStyle/>
                    <a:p>
                      <a:pPr>
                        <a:tabLst>
                          <a:tab pos="226695" algn="l"/>
                        </a:tabLst>
                      </a:pPr>
                      <a:r>
                        <a:rPr lang="en-GB" sz="800" b="1" u="sng" dirty="0">
                          <a:solidFill>
                            <a:srgbClr val="000000"/>
                          </a:solidFill>
                          <a:effectLst/>
                          <a:latin typeface="Arial" panose="020B0604020202020204" pitchFamily="34" charset="0"/>
                          <a:ea typeface="Calibri" panose="020F0502020204030204" pitchFamily="34" charset="0"/>
                          <a:cs typeface="Arial" panose="020B0604020202020204" pitchFamily="34" charset="0"/>
                        </a:rPr>
                        <a:t>KwaZulu-Natal: Durban </a:t>
                      </a:r>
                      <a:r>
                        <a:rPr lang="en-GB" sz="800" b="1" u="sng" dirty="0" err="1">
                          <a:solidFill>
                            <a:srgbClr val="000000"/>
                          </a:solidFill>
                          <a:effectLst/>
                          <a:latin typeface="Arial" panose="020B0604020202020204" pitchFamily="34" charset="0"/>
                          <a:ea typeface="Calibri" panose="020F0502020204030204" pitchFamily="34" charset="0"/>
                          <a:cs typeface="Arial" panose="020B0604020202020204" pitchFamily="34" charset="0"/>
                        </a:rPr>
                        <a:t>Maydon</a:t>
                      </a:r>
                      <a:r>
                        <a:rPr lang="en-GB" sz="800" b="1" u="sng" dirty="0">
                          <a:solidFill>
                            <a:srgbClr val="000000"/>
                          </a:solidFill>
                          <a:effectLst/>
                          <a:latin typeface="Arial" panose="020B0604020202020204" pitchFamily="34" charset="0"/>
                          <a:ea typeface="Calibri" panose="020F0502020204030204" pitchFamily="34" charset="0"/>
                          <a:cs typeface="Arial" panose="020B0604020202020204" pitchFamily="34" charset="0"/>
                        </a:rPr>
                        <a:t> Wharf</a:t>
                      </a:r>
                    </a:p>
                    <a:p>
                      <a:pPr>
                        <a:tabLst>
                          <a:tab pos="226695" algn="l"/>
                        </a:tabLst>
                      </a:pP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94738668"/>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27</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effectLst/>
                          <a:latin typeface="Arial" panose="020B0604020202020204" pitchFamily="34" charset="0"/>
                          <a:ea typeface="Times New Roman" panose="02020603050405020304" pitchFamily="18" charset="0"/>
                          <a:cs typeface="Arial" panose="020B0604020202020204" pitchFamily="34" charset="0"/>
                        </a:rPr>
                        <a:t>Site Survey</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9088478"/>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28</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effectLst/>
                          <a:latin typeface="Arial" panose="020B0604020202020204" pitchFamily="34" charset="0"/>
                          <a:ea typeface="Times New Roman" panose="02020603050405020304" pitchFamily="18" charset="0"/>
                          <a:cs typeface="Arial" panose="020B0604020202020204" pitchFamily="34" charset="0"/>
                        </a:rPr>
                        <a:t>Functional Requirement Specification (Terminal Level)</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89349086"/>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29</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a:t>
                      </a: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Hardware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5187249"/>
                  </a:ext>
                </a:extLst>
              </a:tr>
              <a:tr h="259372">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30</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Acquisition Design</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p>
                      <a:pPr marR="36195">
                        <a:tabLst>
                          <a:tab pos="226695" algn="l"/>
                        </a:tabLst>
                      </a:pPr>
                      <a:r>
                        <a:rPr lang="en-GB" sz="800"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Network Connectivity &amp; Communications)</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0270654"/>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31</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System Design Bluepri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94349017"/>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32</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vision of All System Hardware Based on Terminal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1265737"/>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33</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a:t>
                      </a: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Hardware Installations</a:t>
                      </a: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incl. Calibrations &amp; Configurations)</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65239035"/>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34</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Acquisition Setup</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3954209"/>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35</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Integration into Centralised System</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7125663"/>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36</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Testing &amp; Commission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30282706"/>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37</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evelop &amp; Supply Terminal User Manuals &amp; Standard Operating Procedure Docu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3561291"/>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38</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System User Training &amp; Onboard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8166638"/>
                  </a:ext>
                </a:extLst>
              </a:tr>
              <a:tr h="172915">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39</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UAT &amp; Deploy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4606" marR="346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8267206"/>
                  </a:ext>
                </a:extLst>
              </a:tr>
            </a:tbl>
          </a:graphicData>
        </a:graphic>
      </p:graphicFrame>
    </p:spTree>
    <p:extLst>
      <p:ext uri="{BB962C8B-B14F-4D97-AF65-F5344CB8AC3E}">
        <p14:creationId xmlns:p14="http://schemas.microsoft.com/office/powerpoint/2010/main" val="42739764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6037A-32F2-7D61-8944-477E9F0560B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9EBE23C-CABB-8709-B778-BF4488EC35A9}"/>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ZA" dirty="0">
              <a:latin typeface="+mj-lt"/>
            </a:endParaRPr>
          </a:p>
        </p:txBody>
      </p:sp>
      <p:sp>
        <p:nvSpPr>
          <p:cNvPr id="19" name="Title 18">
            <a:extLst>
              <a:ext uri="{FF2B5EF4-FFF2-40B4-BE49-F238E27FC236}">
                <a16:creationId xmlns:a16="http://schemas.microsoft.com/office/drawing/2014/main" id="{0865A873-1F93-B640-BBAF-CB7431F54AF0}"/>
              </a:ext>
            </a:extLst>
          </p:cNvPr>
          <p:cNvSpPr>
            <a:spLocks noGrp="1"/>
          </p:cNvSpPr>
          <p:nvPr>
            <p:ph type="title"/>
          </p:nvPr>
        </p:nvSpPr>
        <p:spPr>
          <a:xfrm>
            <a:off x="283474" y="143397"/>
            <a:ext cx="10079725" cy="400110"/>
          </a:xfrm>
        </p:spPr>
        <p:txBody>
          <a:bodyPr/>
          <a:lstStyle/>
          <a:p>
            <a:r>
              <a:rPr lang="en-US" sz="2000" dirty="0">
                <a:latin typeface="+mn-lt"/>
              </a:rPr>
              <a:t>Activity</a:t>
            </a:r>
            <a:r>
              <a:rPr lang="en-US" sz="2000" dirty="0">
                <a:latin typeface="+mj-lt"/>
              </a:rPr>
              <a:t> Schedule</a:t>
            </a:r>
          </a:p>
        </p:txBody>
      </p:sp>
      <p:sp>
        <p:nvSpPr>
          <p:cNvPr id="8" name="Rectangle 2">
            <a:extLst>
              <a:ext uri="{FF2B5EF4-FFF2-40B4-BE49-F238E27FC236}">
                <a16:creationId xmlns:a16="http://schemas.microsoft.com/office/drawing/2014/main" id="{71813163-CE9B-FE50-FF8B-FBFCB2D2DD3C}"/>
              </a:ext>
            </a:extLst>
          </p:cNvPr>
          <p:cNvSpPr>
            <a:spLocks noChangeArrowheads="1"/>
          </p:cNvSpPr>
          <p:nvPr/>
        </p:nvSpPr>
        <p:spPr bwMode="auto">
          <a:xfrm>
            <a:off x="-11726403" y="630238"/>
            <a:ext cx="2878250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graphicFrame>
        <p:nvGraphicFramePr>
          <p:cNvPr id="5" name="Table 4">
            <a:extLst>
              <a:ext uri="{FF2B5EF4-FFF2-40B4-BE49-F238E27FC236}">
                <a16:creationId xmlns:a16="http://schemas.microsoft.com/office/drawing/2014/main" id="{F868C9C4-6113-EF59-8780-7D3A46D9FC38}"/>
              </a:ext>
            </a:extLst>
          </p:cNvPr>
          <p:cNvGraphicFramePr>
            <a:graphicFrameLocks noGrp="1"/>
          </p:cNvGraphicFramePr>
          <p:nvPr>
            <p:extLst>
              <p:ext uri="{D42A27DB-BD31-4B8C-83A1-F6EECF244321}">
                <p14:modId xmlns:p14="http://schemas.microsoft.com/office/powerpoint/2010/main" val="169207418"/>
              </p:ext>
            </p:extLst>
          </p:nvPr>
        </p:nvGraphicFramePr>
        <p:xfrm>
          <a:off x="2027244" y="1331986"/>
          <a:ext cx="6592184" cy="4961788"/>
        </p:xfrm>
        <a:graphic>
          <a:graphicData uri="http://schemas.openxmlformats.org/drawingml/2006/table">
            <a:tbl>
              <a:tblPr firstRow="1" firstCol="1" bandRow="1"/>
              <a:tblGrid>
                <a:gridCol w="490362">
                  <a:extLst>
                    <a:ext uri="{9D8B030D-6E8A-4147-A177-3AD203B41FA5}">
                      <a16:colId xmlns:a16="http://schemas.microsoft.com/office/drawing/2014/main" val="544923020"/>
                    </a:ext>
                  </a:extLst>
                </a:gridCol>
                <a:gridCol w="4554823">
                  <a:extLst>
                    <a:ext uri="{9D8B030D-6E8A-4147-A177-3AD203B41FA5}">
                      <a16:colId xmlns:a16="http://schemas.microsoft.com/office/drawing/2014/main" val="2961452832"/>
                    </a:ext>
                  </a:extLst>
                </a:gridCol>
                <a:gridCol w="1546999">
                  <a:extLst>
                    <a:ext uri="{9D8B030D-6E8A-4147-A177-3AD203B41FA5}">
                      <a16:colId xmlns:a16="http://schemas.microsoft.com/office/drawing/2014/main" val="3352117863"/>
                    </a:ext>
                  </a:extLst>
                </a:gridCol>
              </a:tblGrid>
              <a:tr h="152022">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tem</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schemeClr>
                    </a:solidFill>
                  </a:tcPr>
                </a:tc>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ctivity Description</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p>
                      <a:pPr algn="l">
                        <a:tabLst>
                          <a:tab pos="226695" algn="l"/>
                        </a:tabLst>
                      </a:pPr>
                      <a:r>
                        <a:rPr lang="en-GB" sz="800" b="1" dirty="0">
                          <a:effectLst/>
                          <a:latin typeface="Arial" panose="020B0604020202020204" pitchFamily="34" charset="0"/>
                          <a:ea typeface="Times New Roman" panose="02020603050405020304" pitchFamily="18" charset="0"/>
                          <a:cs typeface="Times New Roman" panose="02020603050405020304" pitchFamily="18"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solidFill>
                      <a:schemeClr val="bg1">
                        <a:lumMod val="65000"/>
                      </a:schemeClr>
                    </a:solidFill>
                  </a:tcPr>
                </a:tc>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Cos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solidFill>
                      <a:schemeClr val="bg1">
                        <a:lumMod val="65000"/>
                      </a:schemeClr>
                    </a:solidFill>
                  </a:tcPr>
                </a:tc>
                <a:extLst>
                  <a:ext uri="{0D108BD9-81ED-4DB2-BD59-A6C34878D82A}">
                    <a16:rowId xmlns:a16="http://schemas.microsoft.com/office/drawing/2014/main" val="3852286925"/>
                  </a:ext>
                </a:extLst>
              </a:tr>
              <a:tr h="152022">
                <a:tc gridSpan="3">
                  <a:txBody>
                    <a:bodyPr/>
                    <a:lstStyle/>
                    <a:p>
                      <a:pPr>
                        <a:tabLst>
                          <a:tab pos="226695" algn="l"/>
                        </a:tabLst>
                      </a:pPr>
                      <a:r>
                        <a:rPr lang="en-GB" sz="500" b="1" u="sng" dirty="0">
                          <a:solidFill>
                            <a:srgbClr val="000000"/>
                          </a:solidFill>
                          <a:effectLst/>
                          <a:latin typeface="Arial" panose="020B0604020202020204" pitchFamily="34" charset="0"/>
                          <a:ea typeface="Calibri" panose="020F0502020204030204" pitchFamily="34" charset="0"/>
                          <a:cs typeface="Arial" panose="020B0604020202020204" pitchFamily="34" charset="0"/>
                        </a:rPr>
                        <a:t>KwaZulu-Natal: Durban Container Terminal Pier 1</a:t>
                      </a:r>
                      <a:endParaRPr lang="en-ZA" sz="5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826817214"/>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40</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effectLst/>
                          <a:latin typeface="Arial" panose="020B0604020202020204" pitchFamily="34" charset="0"/>
                          <a:ea typeface="Times New Roman" panose="02020603050405020304" pitchFamily="18" charset="0"/>
                          <a:cs typeface="Arial" panose="020B0604020202020204" pitchFamily="34" charset="0"/>
                        </a:rPr>
                        <a:t>Site Survey</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6434489"/>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41</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effectLst/>
                          <a:latin typeface="Arial" panose="020B0604020202020204" pitchFamily="34" charset="0"/>
                          <a:ea typeface="Times New Roman" panose="02020603050405020304" pitchFamily="18" charset="0"/>
                          <a:cs typeface="Arial" panose="020B0604020202020204" pitchFamily="34" charset="0"/>
                        </a:rPr>
                        <a:t>Functional Requirement Specification (Terminal Level)</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24734415"/>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42</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 Hardware Design</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7506870"/>
                  </a:ext>
                </a:extLst>
              </a:tr>
              <a:tr h="170576">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43</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Data Acquisition Design</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p>
                      <a:pPr marR="36195">
                        <a:tabLst>
                          <a:tab pos="226695" algn="l"/>
                        </a:tabLst>
                      </a:pPr>
                      <a:r>
                        <a:rPr lang="en-GB" sz="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Data Network Connectivity &amp; Communication)</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3760269"/>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44</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Design Blueprint</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6884110"/>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45</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vision of All System Hardware Based on Terminal Design</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99193616"/>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46</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 Hardware Installations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6589530"/>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47</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ata Acquisition Setup</a:t>
                      </a:r>
                      <a:endParaRPr lang="en-ZA" sz="5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9718305"/>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48</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Integration into Centralised System</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4309292"/>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49</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Testing &amp; Commissioning</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4502615"/>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50</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evelop &amp; Supply Terminal User Manuals &amp; Standard Operating Procedure Document</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8429803"/>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51</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System User Training &amp; Onboarding</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86833696"/>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52</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UAT &amp; Deployment</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59194995"/>
                  </a:ext>
                </a:extLst>
              </a:tr>
              <a:tr h="152022">
                <a:tc gridSpan="3">
                  <a:txBody>
                    <a:bodyPr/>
                    <a:lstStyle/>
                    <a:p>
                      <a:pPr>
                        <a:tabLst>
                          <a:tab pos="226695" algn="l"/>
                        </a:tabLst>
                      </a:pPr>
                      <a:r>
                        <a:rPr lang="en-GB" sz="500" b="1" u="sng">
                          <a:solidFill>
                            <a:srgbClr val="000000"/>
                          </a:solidFill>
                          <a:effectLst/>
                          <a:latin typeface="Arial" panose="020B0604020202020204" pitchFamily="34" charset="0"/>
                          <a:ea typeface="Calibri" panose="020F0502020204030204" pitchFamily="34" charset="0"/>
                          <a:cs typeface="Arial" panose="020B0604020202020204" pitchFamily="34" charset="0"/>
                        </a:rPr>
                        <a:t>KwaZulu-Natal: Durban Container Terminal Pier 2</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352061677"/>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53</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effectLst/>
                          <a:latin typeface="Arial" panose="020B0604020202020204" pitchFamily="34" charset="0"/>
                          <a:ea typeface="Times New Roman" panose="02020603050405020304" pitchFamily="18" charset="0"/>
                          <a:cs typeface="Arial" panose="020B0604020202020204" pitchFamily="34" charset="0"/>
                        </a:rPr>
                        <a:t>Site Survey</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13265645"/>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54</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effectLst/>
                          <a:latin typeface="Arial" panose="020B0604020202020204" pitchFamily="34" charset="0"/>
                          <a:ea typeface="Times New Roman" panose="02020603050405020304" pitchFamily="18" charset="0"/>
                          <a:cs typeface="Arial" panose="020B0604020202020204" pitchFamily="34" charset="0"/>
                        </a:rPr>
                        <a:t>Functional Requirement Specification (Terminal Level)</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79349675"/>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55</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a:t>
                      </a:r>
                      <a:r>
                        <a:rPr lang="en-GB" sz="5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Hardware Design</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41883301"/>
                  </a:ext>
                </a:extLst>
              </a:tr>
              <a:tr h="170576">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56</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Acquisition Design</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p>
                      <a:pPr marR="36195">
                        <a:tabLst>
                          <a:tab pos="226695" algn="l"/>
                        </a:tabLst>
                      </a:pPr>
                      <a:r>
                        <a:rPr lang="en-GB" sz="5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Network Connectivity &amp; Communication)</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09868101"/>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57</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System Design Blueprint</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5526419"/>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58</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vision of All System Hardware Based on Terminal Design</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4680075"/>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59</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Automation Hardware Installations</a:t>
                      </a:r>
                      <a:r>
                        <a:rPr lang="en-GB" sz="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62885043"/>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60</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Acquisition Setup</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9682453"/>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61</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Integration into Centralised System</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6178499"/>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62</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Testing &amp; Commissioning</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5062676"/>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63</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evelop &amp; Supply Terminal User Manuals &amp; Standard Operating Procedure Document</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6983580"/>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64</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System User Training &amp; Onboarding</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74080353"/>
                  </a:ext>
                </a:extLst>
              </a:tr>
              <a:tr h="169698">
                <a:tc>
                  <a:txBody>
                    <a:bodyPr/>
                    <a:lstStyle/>
                    <a:p>
                      <a:pPr>
                        <a:tabLst>
                          <a:tab pos="226695" algn="l"/>
                        </a:tabLst>
                      </a:pPr>
                      <a:r>
                        <a:rPr lang="en-ZA" sz="500">
                          <a:solidFill>
                            <a:srgbClr val="000000"/>
                          </a:solidFill>
                          <a:effectLst/>
                          <a:latin typeface="Arial" panose="020B0604020202020204" pitchFamily="34" charset="0"/>
                          <a:ea typeface="Calibri" panose="020F0502020204030204" pitchFamily="34" charset="0"/>
                          <a:cs typeface="Arial" panose="020B0604020202020204" pitchFamily="34" charset="0"/>
                        </a:rPr>
                        <a:t>3.65</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UAT &amp; Deployment</a:t>
                      </a:r>
                      <a:endParaRPr lang="en-ZA" sz="5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5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5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39467262"/>
                  </a:ext>
                </a:extLst>
              </a:tr>
            </a:tbl>
          </a:graphicData>
        </a:graphic>
      </p:graphicFrame>
    </p:spTree>
    <p:extLst>
      <p:ext uri="{BB962C8B-B14F-4D97-AF65-F5344CB8AC3E}">
        <p14:creationId xmlns:p14="http://schemas.microsoft.com/office/powerpoint/2010/main" val="40198783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6037A-32F2-7D61-8944-477E9F0560B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9EBE23C-CABB-8709-B778-BF4488EC35A9}"/>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ZA" dirty="0">
              <a:latin typeface="+mj-lt"/>
            </a:endParaRPr>
          </a:p>
        </p:txBody>
      </p:sp>
      <p:sp>
        <p:nvSpPr>
          <p:cNvPr id="19" name="Title 18">
            <a:extLst>
              <a:ext uri="{FF2B5EF4-FFF2-40B4-BE49-F238E27FC236}">
                <a16:creationId xmlns:a16="http://schemas.microsoft.com/office/drawing/2014/main" id="{0865A873-1F93-B640-BBAF-CB7431F54AF0}"/>
              </a:ext>
            </a:extLst>
          </p:cNvPr>
          <p:cNvSpPr>
            <a:spLocks noGrp="1"/>
          </p:cNvSpPr>
          <p:nvPr>
            <p:ph type="title"/>
          </p:nvPr>
        </p:nvSpPr>
        <p:spPr>
          <a:xfrm>
            <a:off x="283474" y="143397"/>
            <a:ext cx="10079725" cy="400110"/>
          </a:xfrm>
        </p:spPr>
        <p:txBody>
          <a:bodyPr/>
          <a:lstStyle/>
          <a:p>
            <a:r>
              <a:rPr lang="en-US" sz="2000" dirty="0">
                <a:latin typeface="+mn-lt"/>
              </a:rPr>
              <a:t>Activity</a:t>
            </a:r>
            <a:r>
              <a:rPr lang="en-US" sz="2000" dirty="0">
                <a:latin typeface="+mj-lt"/>
              </a:rPr>
              <a:t> Schedule</a:t>
            </a:r>
          </a:p>
        </p:txBody>
      </p:sp>
      <p:sp>
        <p:nvSpPr>
          <p:cNvPr id="8" name="Rectangle 2">
            <a:extLst>
              <a:ext uri="{FF2B5EF4-FFF2-40B4-BE49-F238E27FC236}">
                <a16:creationId xmlns:a16="http://schemas.microsoft.com/office/drawing/2014/main" id="{71813163-CE9B-FE50-FF8B-FBFCB2D2DD3C}"/>
              </a:ext>
            </a:extLst>
          </p:cNvPr>
          <p:cNvSpPr>
            <a:spLocks noChangeArrowheads="1"/>
          </p:cNvSpPr>
          <p:nvPr/>
        </p:nvSpPr>
        <p:spPr bwMode="auto">
          <a:xfrm>
            <a:off x="-11726403" y="630238"/>
            <a:ext cx="2878250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graphicFrame>
        <p:nvGraphicFramePr>
          <p:cNvPr id="4" name="Table 3">
            <a:extLst>
              <a:ext uri="{FF2B5EF4-FFF2-40B4-BE49-F238E27FC236}">
                <a16:creationId xmlns:a16="http://schemas.microsoft.com/office/drawing/2014/main" id="{DE5152E1-E878-22D2-36A5-FB43B3D4B2E6}"/>
              </a:ext>
            </a:extLst>
          </p:cNvPr>
          <p:cNvGraphicFramePr>
            <a:graphicFrameLocks noGrp="1"/>
          </p:cNvGraphicFramePr>
          <p:nvPr>
            <p:extLst>
              <p:ext uri="{D42A27DB-BD31-4B8C-83A1-F6EECF244321}">
                <p14:modId xmlns:p14="http://schemas.microsoft.com/office/powerpoint/2010/main" val="418088889"/>
              </p:ext>
            </p:extLst>
          </p:nvPr>
        </p:nvGraphicFramePr>
        <p:xfrm>
          <a:off x="1809276" y="1350334"/>
          <a:ext cx="7028120" cy="5267952"/>
        </p:xfrm>
        <a:graphic>
          <a:graphicData uri="http://schemas.openxmlformats.org/drawingml/2006/table">
            <a:tbl>
              <a:tblPr firstRow="1" firstCol="1" bandRow="1"/>
              <a:tblGrid>
                <a:gridCol w="522790">
                  <a:extLst>
                    <a:ext uri="{9D8B030D-6E8A-4147-A177-3AD203B41FA5}">
                      <a16:colId xmlns:a16="http://schemas.microsoft.com/office/drawing/2014/main" val="864727996"/>
                    </a:ext>
                  </a:extLst>
                </a:gridCol>
                <a:gridCol w="4856028">
                  <a:extLst>
                    <a:ext uri="{9D8B030D-6E8A-4147-A177-3AD203B41FA5}">
                      <a16:colId xmlns:a16="http://schemas.microsoft.com/office/drawing/2014/main" val="3616040461"/>
                    </a:ext>
                  </a:extLst>
                </a:gridCol>
                <a:gridCol w="1649302">
                  <a:extLst>
                    <a:ext uri="{9D8B030D-6E8A-4147-A177-3AD203B41FA5}">
                      <a16:colId xmlns:a16="http://schemas.microsoft.com/office/drawing/2014/main" val="2650916888"/>
                    </a:ext>
                  </a:extLst>
                </a:gridCol>
              </a:tblGrid>
              <a:tr h="151125">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tem</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ctivity Description</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p>
                      <a:pPr algn="l">
                        <a:tabLst>
                          <a:tab pos="226695" algn="l"/>
                        </a:tabLst>
                      </a:pPr>
                      <a:r>
                        <a:rPr lang="en-GB" sz="800" b="1" dirty="0">
                          <a:effectLst/>
                          <a:latin typeface="Arial" panose="020B0604020202020204" pitchFamily="34" charset="0"/>
                          <a:ea typeface="Times New Roman" panose="02020603050405020304" pitchFamily="18" charset="0"/>
                          <a:cs typeface="Times New Roman" panose="02020603050405020304" pitchFamily="18"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solidFill>
                      <a:schemeClr val="bg1">
                        <a:lumMod val="75000"/>
                      </a:schemeClr>
                    </a:solidFill>
                  </a:tcPr>
                </a:tc>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Cos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solidFill>
                      <a:schemeClr val="bg1">
                        <a:lumMod val="75000"/>
                      </a:schemeClr>
                    </a:solidFill>
                  </a:tcPr>
                </a:tc>
                <a:extLst>
                  <a:ext uri="{0D108BD9-81ED-4DB2-BD59-A6C34878D82A}">
                    <a16:rowId xmlns:a16="http://schemas.microsoft.com/office/drawing/2014/main" val="2231540100"/>
                  </a:ext>
                </a:extLst>
              </a:tr>
              <a:tr h="151125">
                <a:tc gridSpan="3">
                  <a:txBody>
                    <a:bodyPr/>
                    <a:lstStyle/>
                    <a:p>
                      <a:pPr>
                        <a:tabLst>
                          <a:tab pos="226695" algn="l"/>
                        </a:tabLst>
                      </a:pPr>
                      <a:r>
                        <a:rPr lang="en-GB" sz="800" b="1" u="sng" dirty="0">
                          <a:solidFill>
                            <a:srgbClr val="000000"/>
                          </a:solidFill>
                          <a:effectLst/>
                          <a:latin typeface="Arial" panose="020B0604020202020204" pitchFamily="34" charset="0"/>
                          <a:ea typeface="Calibri" panose="020F0502020204030204" pitchFamily="34" charset="0"/>
                          <a:cs typeface="Arial" panose="020B0604020202020204" pitchFamily="34" charset="0"/>
                        </a:rPr>
                        <a:t>East London Multipurpose Terminal</a:t>
                      </a:r>
                    </a:p>
                    <a:p>
                      <a:pPr>
                        <a:tabLst>
                          <a:tab pos="226695" algn="l"/>
                        </a:tabLst>
                      </a:pP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879661214"/>
                  </a:ext>
                </a:extLst>
              </a:tr>
              <a:tr h="168698">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66</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effectLst/>
                          <a:latin typeface="Arial" panose="020B0604020202020204" pitchFamily="34" charset="0"/>
                          <a:ea typeface="Times New Roman" panose="02020603050405020304" pitchFamily="18" charset="0"/>
                          <a:cs typeface="Arial" panose="020B0604020202020204" pitchFamily="34" charset="0"/>
                        </a:rPr>
                        <a:t>Site Survey Assess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4987622"/>
                  </a:ext>
                </a:extLst>
              </a:tr>
              <a:tr h="168698">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67</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effectLst/>
                          <a:latin typeface="Arial" panose="020B0604020202020204" pitchFamily="34" charset="0"/>
                          <a:ea typeface="Times New Roman" panose="02020603050405020304" pitchFamily="18" charset="0"/>
                          <a:cs typeface="Arial" panose="020B0604020202020204" pitchFamily="34" charset="0"/>
                        </a:rPr>
                        <a:t>Functional Requirement Specification (Terminal Level)</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6240461"/>
                  </a:ext>
                </a:extLst>
              </a:tr>
              <a:tr h="168698">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68</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a:t>
                      </a: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Hardware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53185763"/>
                  </a:ext>
                </a:extLst>
              </a:tr>
              <a:tr h="168698">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69</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Acquisition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Network Connectivity &amp; Communicatio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76191499"/>
                  </a:ext>
                </a:extLst>
              </a:tr>
              <a:tr h="168698">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70</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System Design Bluepri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7860003"/>
                  </a:ext>
                </a:extLst>
              </a:tr>
              <a:tr h="168698">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71</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vision of All System Hardware Based on Terminal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7294256"/>
                  </a:ext>
                </a:extLst>
              </a:tr>
              <a:tr h="168698">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72</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Hardware Installations</a:t>
                      </a: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68047938"/>
                  </a:ext>
                </a:extLst>
              </a:tr>
              <a:tr h="168698">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73</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Acquisition Setup</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6489462"/>
                  </a:ext>
                </a:extLst>
              </a:tr>
              <a:tr h="168698">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74</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Integration into Centralised System</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8203243"/>
                  </a:ext>
                </a:extLst>
              </a:tr>
              <a:tr h="168698">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75</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Testing &amp; Commission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3554343"/>
                  </a:ext>
                </a:extLst>
              </a:tr>
              <a:tr h="168698">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76</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evelop &amp; Supply Terminal User Manuals &amp; Standard Operating Procedure Docu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82504042"/>
                  </a:ext>
                </a:extLst>
              </a:tr>
              <a:tr h="168698">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3.77</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System User Training &amp; Onboard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68504026"/>
                  </a:ext>
                </a:extLst>
              </a:tr>
              <a:tr h="168698">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78</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UAT &amp; Deploy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1183003"/>
                  </a:ext>
                </a:extLst>
              </a:tr>
              <a:tr h="151125">
                <a:tc gridSpan="3">
                  <a:txBody>
                    <a:bodyPr/>
                    <a:lstStyle/>
                    <a:p>
                      <a:pPr>
                        <a:tabLst>
                          <a:tab pos="226695" algn="l"/>
                        </a:tabLst>
                      </a:pPr>
                      <a:r>
                        <a:rPr lang="en-GB" sz="800" b="1" u="sng" dirty="0">
                          <a:solidFill>
                            <a:srgbClr val="000000"/>
                          </a:solidFill>
                          <a:effectLst/>
                          <a:latin typeface="Arial" panose="020B0604020202020204" pitchFamily="34" charset="0"/>
                          <a:ea typeface="Calibri" panose="020F0502020204030204" pitchFamily="34" charset="0"/>
                          <a:cs typeface="Arial" panose="020B0604020202020204" pitchFamily="34" charset="0"/>
                        </a:rPr>
                        <a:t>Port Elizabeth Container Terminal</a:t>
                      </a:r>
                    </a:p>
                    <a:p>
                      <a:pPr>
                        <a:tabLst>
                          <a:tab pos="226695" algn="l"/>
                        </a:tabLst>
                      </a:pP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813376079"/>
                  </a:ext>
                </a:extLst>
              </a:tr>
              <a:tr h="168698">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79</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a:effectLst/>
                          <a:latin typeface="Arial" panose="020B0604020202020204" pitchFamily="34" charset="0"/>
                          <a:ea typeface="Times New Roman" panose="02020603050405020304" pitchFamily="18" charset="0"/>
                          <a:cs typeface="Times New Roman" panose="02020603050405020304" pitchFamily="18" charset="0"/>
                        </a:rPr>
                        <a:t>Site</a:t>
                      </a:r>
                      <a:r>
                        <a:rPr lang="en-GB" sz="800">
                          <a:effectLst/>
                          <a:latin typeface="Arial" panose="020B0604020202020204" pitchFamily="34" charset="0"/>
                          <a:ea typeface="Times New Roman" panose="02020603050405020304" pitchFamily="18" charset="0"/>
                          <a:cs typeface="Arial" panose="020B0604020202020204" pitchFamily="34" charset="0"/>
                        </a:rPr>
                        <a:t> Survey</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9324037"/>
                  </a:ext>
                </a:extLst>
              </a:tr>
              <a:tr h="168698">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80</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dirty="0">
                          <a:effectLst/>
                          <a:latin typeface="Arial" panose="020B0604020202020204" pitchFamily="34" charset="0"/>
                          <a:ea typeface="Times New Roman" panose="02020603050405020304" pitchFamily="18" charset="0"/>
                          <a:cs typeface="Times New Roman" panose="02020603050405020304" pitchFamily="18" charset="0"/>
                        </a:rPr>
                        <a:t>Functional Requirement Specification (Terminal Level)</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81932280"/>
                  </a:ext>
                </a:extLst>
              </a:tr>
              <a:tr h="168698">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81</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a:t>
                      </a:r>
                      <a:r>
                        <a:rPr lang="en-GB" sz="800" b="1">
                          <a:effectLst/>
                          <a:latin typeface="Arial" panose="020B0604020202020204" pitchFamily="34" charset="0"/>
                          <a:ea typeface="Times New Roman" panose="02020603050405020304" pitchFamily="18" charset="0"/>
                          <a:cs typeface="Times New Roman" panose="02020603050405020304" pitchFamily="18" charset="0"/>
                        </a:rPr>
                        <a:t> Hardware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8137735"/>
                  </a:ext>
                </a:extLst>
              </a:tr>
              <a:tr h="168698">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82</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Acquisition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Network Connectivity &amp; Communicatio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13782409"/>
                  </a:ext>
                </a:extLst>
              </a:tr>
              <a:tr h="168698">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83</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a:effectLst/>
                          <a:latin typeface="Arial" panose="020B0604020202020204" pitchFamily="34" charset="0"/>
                          <a:ea typeface="Times New Roman" panose="02020603050405020304" pitchFamily="18" charset="0"/>
                          <a:cs typeface="Times New Roman" panose="02020603050405020304" pitchFamily="18" charset="0"/>
                        </a:rPr>
                        <a:t>Terminal System Design Bluepri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17936983"/>
                  </a:ext>
                </a:extLst>
              </a:tr>
              <a:tr h="168698">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84</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vision of All System Hardware Based on Terminal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27592208"/>
                  </a:ext>
                </a:extLst>
              </a:tr>
              <a:tr h="168698">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85</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a:t>
                      </a:r>
                      <a:r>
                        <a:rPr lang="en-GB" sz="800" b="1">
                          <a:effectLst/>
                          <a:latin typeface="Arial" panose="020B0604020202020204" pitchFamily="34" charset="0"/>
                          <a:ea typeface="Times New Roman" panose="02020603050405020304" pitchFamily="18" charset="0"/>
                          <a:cs typeface="Times New Roman" panose="02020603050405020304" pitchFamily="18" charset="0"/>
                        </a:rPr>
                        <a:t> Hardware Installations</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5667346"/>
                  </a:ext>
                </a:extLst>
              </a:tr>
              <a:tr h="168698">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86</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dirty="0">
                          <a:effectLst/>
                          <a:latin typeface="Arial" panose="020B0604020202020204" pitchFamily="34" charset="0"/>
                          <a:ea typeface="Times New Roman" panose="02020603050405020304" pitchFamily="18" charset="0"/>
                          <a:cs typeface="Times New Roman" panose="02020603050405020304" pitchFamily="18" charset="0"/>
                        </a:rPr>
                        <a:t>Data Acquisition Setup</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31607440"/>
                  </a:ext>
                </a:extLst>
              </a:tr>
              <a:tr h="168698">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87</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Integration into Centralised System</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56833194"/>
                  </a:ext>
                </a:extLst>
              </a:tr>
              <a:tr h="168698">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89</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Testing &amp; Commission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7540487"/>
                  </a:ext>
                </a:extLst>
              </a:tr>
              <a:tr h="168698">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90</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evelop &amp; Supply Terminal User Manuals &amp; Standard Operating Procedure Docu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52083482"/>
                  </a:ext>
                </a:extLst>
              </a:tr>
              <a:tr h="168698">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91</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System User Training &amp; Onboard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0479520"/>
                  </a:ext>
                </a:extLst>
              </a:tr>
              <a:tr h="168698">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92</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UAT &amp; Deploy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5228" marR="3522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8167477"/>
                  </a:ext>
                </a:extLst>
              </a:tr>
            </a:tbl>
          </a:graphicData>
        </a:graphic>
      </p:graphicFrame>
    </p:spTree>
    <p:extLst>
      <p:ext uri="{BB962C8B-B14F-4D97-AF65-F5344CB8AC3E}">
        <p14:creationId xmlns:p14="http://schemas.microsoft.com/office/powerpoint/2010/main" val="28587785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11">
            <a:extLst>
              <a:ext uri="{FF2B5EF4-FFF2-40B4-BE49-F238E27FC236}">
                <a16:creationId xmlns:a16="http://schemas.microsoft.com/office/drawing/2014/main" id="{DE0DA2DE-03F7-09AD-73F1-C949E5416CAB}"/>
              </a:ext>
            </a:extLst>
          </p:cNvPr>
          <p:cNvGraphicFramePr>
            <a:graphicFrameLocks noGrp="1"/>
          </p:cNvGraphicFramePr>
          <p:nvPr>
            <p:extLst>
              <p:ext uri="{D42A27DB-BD31-4B8C-83A1-F6EECF244321}">
                <p14:modId xmlns:p14="http://schemas.microsoft.com/office/powerpoint/2010/main" val="2867730996"/>
              </p:ext>
            </p:extLst>
          </p:nvPr>
        </p:nvGraphicFramePr>
        <p:xfrm>
          <a:off x="426805" y="1333816"/>
          <a:ext cx="10006026" cy="5144580"/>
        </p:xfrm>
        <a:graphic>
          <a:graphicData uri="http://schemas.openxmlformats.org/drawingml/2006/table">
            <a:tbl>
              <a:tblPr firstRow="1" bandRow="1">
                <a:tableStyleId>{5C22544A-7EE6-4342-B048-85BDC9FD1C3A}</a:tableStyleId>
              </a:tblPr>
              <a:tblGrid>
                <a:gridCol w="610285">
                  <a:extLst>
                    <a:ext uri="{9D8B030D-6E8A-4147-A177-3AD203B41FA5}">
                      <a16:colId xmlns:a16="http://schemas.microsoft.com/office/drawing/2014/main" val="2208968794"/>
                    </a:ext>
                  </a:extLst>
                </a:gridCol>
                <a:gridCol w="2545655">
                  <a:extLst>
                    <a:ext uri="{9D8B030D-6E8A-4147-A177-3AD203B41FA5}">
                      <a16:colId xmlns:a16="http://schemas.microsoft.com/office/drawing/2014/main" val="1314826358"/>
                    </a:ext>
                  </a:extLst>
                </a:gridCol>
                <a:gridCol w="5624946">
                  <a:extLst>
                    <a:ext uri="{9D8B030D-6E8A-4147-A177-3AD203B41FA5}">
                      <a16:colId xmlns:a16="http://schemas.microsoft.com/office/drawing/2014/main" val="1801552601"/>
                    </a:ext>
                  </a:extLst>
                </a:gridCol>
                <a:gridCol w="1225140">
                  <a:extLst>
                    <a:ext uri="{9D8B030D-6E8A-4147-A177-3AD203B41FA5}">
                      <a16:colId xmlns:a16="http://schemas.microsoft.com/office/drawing/2014/main" val="1153813624"/>
                    </a:ext>
                  </a:extLst>
                </a:gridCol>
              </a:tblGrid>
              <a:tr h="734940">
                <a:tc>
                  <a:txBody>
                    <a:bodyPr/>
                    <a:lstStyle/>
                    <a:p>
                      <a:r>
                        <a:rPr lang="en-US" sz="1400" b="1" i="0">
                          <a:solidFill>
                            <a:schemeClr val="tx1">
                              <a:lumMod val="75000"/>
                              <a:lumOff val="25000"/>
                            </a:schemeClr>
                          </a:solidFill>
                          <a:latin typeface="+mj-lt"/>
                          <a:ea typeface="Apex New Heavy" panose="02010600040501010103" pitchFamily="2" charset="77"/>
                        </a:rPr>
                        <a:t>01</a:t>
                      </a:r>
                    </a:p>
                  </a:txBody>
                  <a:tcPr marL="45720" marR="45720" marT="72000" marB="22860" anchor="ctr">
                    <a:lnL w="12700" cmpd="sng">
                      <a:noFill/>
                    </a:lnL>
                    <a:lnR w="12700" cmpd="sng">
                      <a:noFill/>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i="0" dirty="0">
                          <a:solidFill>
                            <a:schemeClr val="tx1">
                              <a:lumMod val="75000"/>
                              <a:lumOff val="25000"/>
                            </a:schemeClr>
                          </a:solidFill>
                          <a:latin typeface="+mj-lt"/>
                          <a:ea typeface="Apex New Medium" panose="02010600040501010103" pitchFamily="2" charset="77"/>
                        </a:rPr>
                        <a:t>Business Background</a:t>
                      </a:r>
                    </a:p>
                  </a:txBody>
                  <a:tcPr marL="45720" marR="45720" marT="72000" marB="22860" anchor="ctr">
                    <a:lnL w="12700" cmpd="sng">
                      <a:noFill/>
                    </a:lnL>
                    <a:lnR w="12700" cmpd="sng">
                      <a:noFill/>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US" sz="1400" b="0" i="0" dirty="0">
                          <a:solidFill>
                            <a:schemeClr val="tx1">
                              <a:lumMod val="75000"/>
                              <a:lumOff val="25000"/>
                            </a:schemeClr>
                          </a:solidFill>
                          <a:latin typeface="+mj-lt"/>
                          <a:ea typeface="Apex New Book" panose="02010600040501010103" pitchFamily="2" charset="77"/>
                        </a:rPr>
                        <a:t>Description of the business </a:t>
                      </a:r>
                    </a:p>
                  </a:txBody>
                  <a:tcPr marL="45720" marR="45720" marT="72000" marB="22860" anchor="ctr">
                    <a:lnL w="12700" cmpd="sng">
                      <a:noFill/>
                    </a:lnL>
                    <a:lnR w="12700" cmpd="sng">
                      <a:noFill/>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1400" b="0" i="0">
                        <a:solidFill>
                          <a:schemeClr val="tx1">
                            <a:lumMod val="75000"/>
                            <a:lumOff val="25000"/>
                          </a:schemeClr>
                        </a:solidFill>
                        <a:latin typeface="+mj-lt"/>
                        <a:ea typeface="Apex New Book" panose="02010600040501010103" pitchFamily="2" charset="77"/>
                      </a:endParaRPr>
                    </a:p>
                  </a:txBody>
                  <a:tcPr marL="45720" marR="45720" marT="72000" marB="22860" anchor="ctr">
                    <a:lnL w="12700" cmpd="sng">
                      <a:noFill/>
                    </a:lnL>
                    <a:lnR w="12700" cmpd="sng">
                      <a:noFill/>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8051745"/>
                  </a:ext>
                </a:extLst>
              </a:tr>
              <a:tr h="734940">
                <a:tc>
                  <a:txBody>
                    <a:bodyPr/>
                    <a:lstStyle/>
                    <a:p>
                      <a:r>
                        <a:rPr lang="en-US" sz="1400" b="1" i="0">
                          <a:solidFill>
                            <a:schemeClr val="tx1">
                              <a:lumMod val="75000"/>
                              <a:lumOff val="25000"/>
                            </a:schemeClr>
                          </a:solidFill>
                          <a:latin typeface="+mj-lt"/>
                          <a:ea typeface="Apex New Heavy" panose="02010600040501010103" pitchFamily="2" charset="77"/>
                        </a:rPr>
                        <a:t>02</a:t>
                      </a: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i="0" dirty="0">
                          <a:solidFill>
                            <a:schemeClr val="tx1">
                              <a:lumMod val="75000"/>
                              <a:lumOff val="25000"/>
                            </a:schemeClr>
                          </a:solidFill>
                          <a:latin typeface="+mj-lt"/>
                          <a:ea typeface="Apex New Medium" panose="02010600040501010103" pitchFamily="2" charset="77"/>
                        </a:rPr>
                        <a:t>Project Background</a:t>
                      </a: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US" sz="1400" b="0" i="0" dirty="0">
                          <a:solidFill>
                            <a:schemeClr val="tx1">
                              <a:lumMod val="75000"/>
                              <a:lumOff val="25000"/>
                            </a:schemeClr>
                          </a:solidFill>
                          <a:latin typeface="+mj-lt"/>
                          <a:ea typeface="Apex New Book" panose="02010600040501010103" pitchFamily="2" charset="77"/>
                        </a:rPr>
                        <a:t>Description of the project background </a:t>
                      </a: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1400" b="0" i="0">
                        <a:solidFill>
                          <a:schemeClr val="tx1">
                            <a:lumMod val="75000"/>
                            <a:lumOff val="25000"/>
                          </a:schemeClr>
                        </a:solidFill>
                        <a:latin typeface="+mj-lt"/>
                        <a:ea typeface="Apex New Book" panose="02010600040501010103" pitchFamily="2" charset="77"/>
                      </a:endParaRP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416260"/>
                  </a:ext>
                </a:extLst>
              </a:tr>
              <a:tr h="734940">
                <a:tc>
                  <a:txBody>
                    <a:bodyPr/>
                    <a:lstStyle/>
                    <a:p>
                      <a:r>
                        <a:rPr lang="en-US" sz="1400" b="1" i="0">
                          <a:solidFill>
                            <a:schemeClr val="tx1">
                              <a:lumMod val="75000"/>
                              <a:lumOff val="25000"/>
                            </a:schemeClr>
                          </a:solidFill>
                          <a:latin typeface="+mj-lt"/>
                          <a:ea typeface="Apex New Heavy" panose="02010600040501010103" pitchFamily="2" charset="77"/>
                        </a:rPr>
                        <a:t>03</a:t>
                      </a: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i="0" dirty="0">
                          <a:solidFill>
                            <a:schemeClr val="tx1">
                              <a:lumMod val="75000"/>
                              <a:lumOff val="25000"/>
                            </a:schemeClr>
                          </a:solidFill>
                          <a:latin typeface="+mj-lt"/>
                          <a:ea typeface="Apex New Medium" panose="02010600040501010103" pitchFamily="2" charset="77"/>
                        </a:rPr>
                        <a:t>Scope of Requirements </a:t>
                      </a: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US" sz="1400" b="0" i="0" dirty="0">
                          <a:solidFill>
                            <a:schemeClr val="tx1">
                              <a:lumMod val="75000"/>
                              <a:lumOff val="25000"/>
                            </a:schemeClr>
                          </a:solidFill>
                          <a:latin typeface="+mj-lt"/>
                          <a:ea typeface="Apex New Book" panose="02010600040501010103" pitchFamily="2" charset="77"/>
                        </a:rPr>
                        <a:t>High Level Scope Overview</a:t>
                      </a: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1400" b="0" i="0">
                        <a:solidFill>
                          <a:schemeClr val="tx1">
                            <a:lumMod val="75000"/>
                            <a:lumOff val="25000"/>
                          </a:schemeClr>
                        </a:solidFill>
                        <a:latin typeface="+mj-lt"/>
                        <a:ea typeface="Apex New Book" panose="02010600040501010103" pitchFamily="2" charset="77"/>
                      </a:endParaRP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5142023"/>
                  </a:ext>
                </a:extLst>
              </a:tr>
              <a:tr h="734940">
                <a:tc>
                  <a:txBody>
                    <a:bodyPr/>
                    <a:lstStyle/>
                    <a:p>
                      <a:r>
                        <a:rPr lang="en-US" sz="1400" b="1" i="0">
                          <a:solidFill>
                            <a:schemeClr val="tx1">
                              <a:lumMod val="75000"/>
                              <a:lumOff val="25000"/>
                            </a:schemeClr>
                          </a:solidFill>
                          <a:latin typeface="+mj-lt"/>
                          <a:ea typeface="Apex New Heavy" panose="02010600040501010103" pitchFamily="2" charset="77"/>
                        </a:rPr>
                        <a:t>04</a:t>
                      </a: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i="0">
                          <a:solidFill>
                            <a:schemeClr val="tx1">
                              <a:lumMod val="75000"/>
                              <a:lumOff val="25000"/>
                            </a:schemeClr>
                          </a:solidFill>
                          <a:latin typeface="+mj-lt"/>
                          <a:ea typeface="Apex New Medium" panose="02010600040501010103" pitchFamily="2" charset="77"/>
                        </a:rPr>
                        <a:t>Technical Specification</a:t>
                      </a: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US" sz="1400" b="0" i="0" dirty="0">
                          <a:solidFill>
                            <a:schemeClr val="tx1">
                              <a:lumMod val="75000"/>
                              <a:lumOff val="25000"/>
                            </a:schemeClr>
                          </a:solidFill>
                          <a:latin typeface="+mj-lt"/>
                          <a:ea typeface="Apex New Book" panose="02010600040501010103" pitchFamily="2" charset="77"/>
                        </a:rPr>
                        <a:t>Annexure A – Scope of Services</a:t>
                      </a: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1400" b="0" i="0">
                        <a:solidFill>
                          <a:schemeClr val="tx1">
                            <a:lumMod val="75000"/>
                            <a:lumOff val="25000"/>
                          </a:schemeClr>
                        </a:solidFill>
                        <a:latin typeface="+mj-lt"/>
                        <a:ea typeface="Apex New Book" panose="02010600040501010103" pitchFamily="2" charset="77"/>
                      </a:endParaRP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5797243"/>
                  </a:ext>
                </a:extLst>
              </a:tr>
              <a:tr h="734940">
                <a:tc>
                  <a:txBody>
                    <a:bodyPr/>
                    <a:lstStyle/>
                    <a:p>
                      <a:r>
                        <a:rPr lang="en-US" sz="1400" b="1" i="0">
                          <a:solidFill>
                            <a:schemeClr val="tx1">
                              <a:lumMod val="75000"/>
                              <a:lumOff val="25000"/>
                            </a:schemeClr>
                          </a:solidFill>
                          <a:latin typeface="+mj-lt"/>
                          <a:ea typeface="Apex New Heavy" panose="02010600040501010103" pitchFamily="2" charset="77"/>
                        </a:rPr>
                        <a:t>05</a:t>
                      </a: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i="0" dirty="0">
                          <a:solidFill>
                            <a:schemeClr val="tx1">
                              <a:lumMod val="75000"/>
                              <a:lumOff val="25000"/>
                            </a:schemeClr>
                          </a:solidFill>
                          <a:latin typeface="+mj-lt"/>
                          <a:ea typeface="Apex New Medium" panose="02010600040501010103" pitchFamily="2" charset="77"/>
                        </a:rPr>
                        <a:t>Technical Evaluation</a:t>
                      </a: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US" sz="1400" b="0" i="0" dirty="0">
                          <a:solidFill>
                            <a:schemeClr val="tx1">
                              <a:lumMod val="75000"/>
                              <a:lumOff val="25000"/>
                            </a:schemeClr>
                          </a:solidFill>
                          <a:latin typeface="+mj-lt"/>
                          <a:ea typeface="Apex New Book" panose="02010600040501010103" pitchFamily="2" charset="77"/>
                        </a:rPr>
                        <a:t>Technical &amp; Functional Scoring Criteria</a:t>
                      </a: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1400" b="0" i="0">
                        <a:solidFill>
                          <a:schemeClr val="tx1">
                            <a:lumMod val="75000"/>
                            <a:lumOff val="25000"/>
                          </a:schemeClr>
                        </a:solidFill>
                        <a:latin typeface="+mj-lt"/>
                        <a:ea typeface="Apex New Book" panose="02010600040501010103" pitchFamily="2" charset="77"/>
                      </a:endParaRP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6495685"/>
                  </a:ext>
                </a:extLst>
              </a:tr>
              <a:tr h="734940">
                <a:tc>
                  <a:txBody>
                    <a:bodyPr/>
                    <a:lstStyle/>
                    <a:p>
                      <a:r>
                        <a:rPr lang="en-US" sz="1400" b="1" i="0" dirty="0">
                          <a:solidFill>
                            <a:schemeClr val="tx1">
                              <a:lumMod val="75000"/>
                              <a:lumOff val="25000"/>
                            </a:schemeClr>
                          </a:solidFill>
                          <a:latin typeface="+mj-lt"/>
                          <a:ea typeface="Apex New Heavy" panose="02010600040501010103" pitchFamily="2" charset="77"/>
                        </a:rPr>
                        <a:t>06</a:t>
                      </a: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i="0" dirty="0">
                          <a:solidFill>
                            <a:schemeClr val="tx1">
                              <a:lumMod val="75000"/>
                              <a:lumOff val="25000"/>
                            </a:schemeClr>
                          </a:solidFill>
                          <a:latin typeface="+mj-lt"/>
                          <a:ea typeface="Apex New Medium" panose="02010600040501010103" pitchFamily="2" charset="77"/>
                        </a:rPr>
                        <a:t>Technical Presentation Evaluation</a:t>
                      </a: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US" sz="1400" b="0" i="0" dirty="0">
                          <a:solidFill>
                            <a:schemeClr val="tx1">
                              <a:lumMod val="75000"/>
                              <a:lumOff val="25000"/>
                            </a:schemeClr>
                          </a:solidFill>
                          <a:latin typeface="+mj-lt"/>
                          <a:ea typeface="Apex New Book" panose="02010600040501010103" pitchFamily="2" charset="77"/>
                        </a:rPr>
                        <a:t>Technical Presentations Scoring Criteria</a:t>
                      </a:r>
                    </a:p>
                    <a:p>
                      <a:pPr marL="0" marR="0" lvl="0" indent="0" algn="l" defTabSz="1828343" rtl="0" eaLnBrk="1" fontAlgn="auto" latinLnBrk="0" hangingPunct="1">
                        <a:lnSpc>
                          <a:spcPct val="100000"/>
                        </a:lnSpc>
                        <a:spcBef>
                          <a:spcPts val="0"/>
                        </a:spcBef>
                        <a:spcAft>
                          <a:spcPts val="0"/>
                        </a:spcAft>
                        <a:buClrTx/>
                        <a:buSzTx/>
                        <a:buFontTx/>
                        <a:buNone/>
                        <a:tabLst/>
                        <a:defRPr/>
                      </a:pPr>
                      <a:endParaRPr lang="en-US" sz="1400" b="0" i="0" dirty="0">
                        <a:solidFill>
                          <a:schemeClr val="tx1">
                            <a:lumMod val="75000"/>
                            <a:lumOff val="25000"/>
                          </a:schemeClr>
                        </a:solidFill>
                        <a:latin typeface="+mj-lt"/>
                        <a:ea typeface="Apex New Book" panose="02010600040501010103" pitchFamily="2" charset="77"/>
                      </a:endParaRP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1400" b="0" i="0" dirty="0">
                        <a:solidFill>
                          <a:schemeClr val="tx1">
                            <a:lumMod val="75000"/>
                            <a:lumOff val="25000"/>
                          </a:schemeClr>
                        </a:solidFill>
                        <a:latin typeface="+mj-lt"/>
                        <a:ea typeface="Apex New Book" panose="02010600040501010103" pitchFamily="2" charset="77"/>
                      </a:endParaRP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8356064"/>
                  </a:ext>
                </a:extLst>
              </a:tr>
              <a:tr h="734940">
                <a:tc>
                  <a:txBody>
                    <a:bodyPr/>
                    <a:lstStyle/>
                    <a:p>
                      <a:pPr marL="0" marR="0" lvl="0" indent="0" algn="l" defTabSz="779173" rtl="0" eaLnBrk="1" fontAlgn="auto" latinLnBrk="0" hangingPunct="1">
                        <a:lnSpc>
                          <a:spcPct val="100000"/>
                        </a:lnSpc>
                        <a:spcBef>
                          <a:spcPts val="0"/>
                        </a:spcBef>
                        <a:spcAft>
                          <a:spcPts val="0"/>
                        </a:spcAft>
                        <a:buClrTx/>
                        <a:buSzTx/>
                        <a:buFontTx/>
                        <a:buNone/>
                        <a:tabLst/>
                        <a:defRPr/>
                      </a:pPr>
                      <a:r>
                        <a:rPr lang="en-US" sz="1400" b="1" i="0" kern="1200" dirty="0">
                          <a:solidFill>
                            <a:schemeClr val="tx1">
                              <a:lumMod val="75000"/>
                              <a:lumOff val="25000"/>
                            </a:schemeClr>
                          </a:solidFill>
                          <a:latin typeface="+mn-lt"/>
                          <a:ea typeface="Apex New Heavy" panose="02010600040501010103" pitchFamily="2" charset="77"/>
                          <a:cs typeface="+mn-cs"/>
                        </a:rPr>
                        <a:t>07</a:t>
                      </a:r>
                    </a:p>
                    <a:p>
                      <a:endParaRPr lang="en-US" sz="1400" b="1" i="0" dirty="0">
                        <a:solidFill>
                          <a:schemeClr val="tx1">
                            <a:lumMod val="75000"/>
                            <a:lumOff val="25000"/>
                          </a:schemeClr>
                        </a:solidFill>
                        <a:latin typeface="+mj-lt"/>
                        <a:ea typeface="Apex New Heavy" panose="02010600040501010103" pitchFamily="2" charset="77"/>
                      </a:endParaRPr>
                    </a:p>
                  </a:txBody>
                  <a:tcPr marL="45720" marR="45720" marT="72000" marB="22860" anchor="b">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i="0" dirty="0">
                          <a:solidFill>
                            <a:schemeClr val="tx1">
                              <a:lumMod val="75000"/>
                              <a:lumOff val="25000"/>
                            </a:schemeClr>
                          </a:solidFill>
                          <a:latin typeface="+mj-lt"/>
                          <a:ea typeface="Apex New Medium" panose="02010600040501010103" pitchFamily="2" charset="77"/>
                        </a:rPr>
                        <a:t>Pricing &amp; Delivery Schedule</a:t>
                      </a: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US" sz="1400" b="0" i="0" dirty="0">
                          <a:solidFill>
                            <a:schemeClr val="tx1">
                              <a:lumMod val="75000"/>
                              <a:lumOff val="25000"/>
                            </a:schemeClr>
                          </a:solidFill>
                          <a:latin typeface="+mj-lt"/>
                          <a:ea typeface="Apex New Book" panose="02010600040501010103" pitchFamily="2" charset="77"/>
                        </a:rPr>
                        <a:t>Activity Schedule</a:t>
                      </a: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1400" b="0" i="0" dirty="0">
                        <a:solidFill>
                          <a:schemeClr val="tx1">
                            <a:lumMod val="75000"/>
                            <a:lumOff val="25000"/>
                          </a:schemeClr>
                        </a:solidFill>
                        <a:latin typeface="+mj-lt"/>
                        <a:ea typeface="Apex New Book" panose="02010600040501010103" pitchFamily="2" charset="77"/>
                      </a:endParaRPr>
                    </a:p>
                  </a:txBody>
                  <a:tcPr marL="45720" marR="45720" marT="72000" marB="22860" anchor="ctr">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4162317"/>
                  </a:ext>
                </a:extLst>
              </a:tr>
            </a:tbl>
          </a:graphicData>
        </a:graphic>
      </p:graphicFrame>
      <p:pic>
        <p:nvPicPr>
          <p:cNvPr id="15" name="Picture Placeholder 14">
            <a:extLst>
              <a:ext uri="{FF2B5EF4-FFF2-40B4-BE49-F238E27FC236}">
                <a16:creationId xmlns:a16="http://schemas.microsoft.com/office/drawing/2014/main" id="{2D67AB93-ED85-B750-50F4-E7B5B17E4456}"/>
              </a:ext>
            </a:extLst>
          </p:cNvPr>
          <p:cNvPicPr>
            <a:picLocks noGrp="1" noChangeAspect="1"/>
          </p:cNvPicPr>
          <p:nvPr>
            <p:ph type="pic" sz="quarter" idx="12"/>
          </p:nvPr>
        </p:nvPicPr>
        <p:blipFill rotWithShape="1">
          <a:blip r:embed="rId2" cstate="email">
            <a:extLst>
              <a:ext uri="{28A0092B-C50C-407E-A947-70E740481C1C}">
                <a14:useLocalDpi xmlns:a14="http://schemas.microsoft.com/office/drawing/2010/main"/>
              </a:ext>
            </a:extLst>
          </a:blip>
          <a:srcRect/>
          <a:stretch/>
        </p:blipFill>
        <p:spPr/>
      </p:pic>
      <p:sp>
        <p:nvSpPr>
          <p:cNvPr id="130" name="Text Placeholder 129">
            <a:extLst>
              <a:ext uri="{FF2B5EF4-FFF2-40B4-BE49-F238E27FC236}">
                <a16:creationId xmlns:a16="http://schemas.microsoft.com/office/drawing/2014/main" id="{EF382210-A450-6F80-3314-8A2842F91CA5}"/>
              </a:ext>
            </a:extLst>
          </p:cNvPr>
          <p:cNvSpPr>
            <a:spLocks noGrp="1"/>
          </p:cNvSpPr>
          <p:nvPr>
            <p:ph type="body" sz="quarter" idx="16"/>
          </p:nvPr>
        </p:nvSpPr>
        <p:spPr>
          <a:xfrm>
            <a:off x="311182" y="554235"/>
            <a:ext cx="5889053" cy="410136"/>
          </a:xfrm>
        </p:spPr>
        <p:txBody>
          <a:bodyPr/>
          <a:lstStyle/>
          <a:p>
            <a:r>
              <a:rPr lang="en-US" sz="1400" dirty="0">
                <a:latin typeface="+mj-lt"/>
              </a:rPr>
              <a:t>RFP </a:t>
            </a:r>
            <a:r>
              <a:rPr lang="en-US" sz="1400" dirty="0" err="1">
                <a:latin typeface="+mj-lt"/>
              </a:rPr>
              <a:t>iCLM</a:t>
            </a:r>
            <a:r>
              <a:rPr lang="en-US" sz="1400" dirty="0">
                <a:latin typeface="+mj-lt"/>
              </a:rPr>
              <a:t> HQ 926/TPT</a:t>
            </a:r>
            <a:endParaRPr lang="en-ZA" sz="1400" dirty="0">
              <a:latin typeface="+mj-lt"/>
            </a:endParaRPr>
          </a:p>
          <a:p>
            <a:endParaRPr lang="en-US" sz="1600" dirty="0">
              <a:solidFill>
                <a:schemeClr val="tx2"/>
              </a:solidFill>
              <a:latin typeface="+mj-lt"/>
            </a:endParaRPr>
          </a:p>
        </p:txBody>
      </p:sp>
      <p:sp>
        <p:nvSpPr>
          <p:cNvPr id="16" name="Title 15">
            <a:extLst>
              <a:ext uri="{FF2B5EF4-FFF2-40B4-BE49-F238E27FC236}">
                <a16:creationId xmlns:a16="http://schemas.microsoft.com/office/drawing/2014/main" id="{C94B949C-E472-BAD8-DE07-71DC0F64E36F}"/>
              </a:ext>
            </a:extLst>
          </p:cNvPr>
          <p:cNvSpPr>
            <a:spLocks noGrp="1"/>
          </p:cNvSpPr>
          <p:nvPr>
            <p:ph type="title"/>
          </p:nvPr>
        </p:nvSpPr>
        <p:spPr>
          <a:xfrm>
            <a:off x="283474" y="137011"/>
            <a:ext cx="10079725" cy="400110"/>
          </a:xfrm>
        </p:spPr>
        <p:txBody>
          <a:bodyPr/>
          <a:lstStyle/>
          <a:p>
            <a:r>
              <a:rPr lang="en-US" sz="2000">
                <a:latin typeface="+mj-lt"/>
              </a:rPr>
              <a:t>Contents</a:t>
            </a:r>
          </a:p>
        </p:txBody>
      </p:sp>
      <p:sp>
        <p:nvSpPr>
          <p:cNvPr id="9" name="Freeform 8">
            <a:extLst>
              <a:ext uri="{FF2B5EF4-FFF2-40B4-BE49-F238E27FC236}">
                <a16:creationId xmlns:a16="http://schemas.microsoft.com/office/drawing/2014/main" id="{8F916133-BAB0-4E18-8CDD-4D070D9292DA}"/>
              </a:ext>
            </a:extLst>
          </p:cNvPr>
          <p:cNvSpPr/>
          <p:nvPr/>
        </p:nvSpPr>
        <p:spPr>
          <a:xfrm>
            <a:off x="7282543" y="-3175"/>
            <a:ext cx="4911471" cy="6870319"/>
          </a:xfrm>
          <a:custGeom>
            <a:avLst/>
            <a:gdLst>
              <a:gd name="connsiteX0" fmla="*/ 0 w 4911471"/>
              <a:gd name="connsiteY0" fmla="*/ 0 h 6870319"/>
              <a:gd name="connsiteX1" fmla="*/ 4243959 w 4911471"/>
              <a:gd name="connsiteY1" fmla="*/ 6870319 h 6870319"/>
              <a:gd name="connsiteX2" fmla="*/ 4911471 w 4911471"/>
              <a:gd name="connsiteY2" fmla="*/ 6870319 h 6870319"/>
              <a:gd name="connsiteX3" fmla="*/ 4911471 w 4911471"/>
              <a:gd name="connsiteY3" fmla="*/ 3175 h 6870319"/>
              <a:gd name="connsiteX4" fmla="*/ 0 w 4911471"/>
              <a:gd name="connsiteY4" fmla="*/ 0 h 6870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1471" h="6870319">
                <a:moveTo>
                  <a:pt x="0" y="0"/>
                </a:moveTo>
                <a:lnTo>
                  <a:pt x="4243959" y="6870319"/>
                </a:lnTo>
                <a:lnTo>
                  <a:pt x="4911471" y="6870319"/>
                </a:lnTo>
                <a:lnTo>
                  <a:pt x="4911471" y="3175"/>
                </a:lnTo>
                <a:lnTo>
                  <a:pt x="0" y="0"/>
                </a:lnTo>
                <a:close/>
              </a:path>
            </a:pathLst>
          </a:custGeom>
          <a:solidFill>
            <a:schemeClr val="tx1">
              <a:alpha val="20698"/>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Graphic 64">
            <a:extLst>
              <a:ext uri="{FF2B5EF4-FFF2-40B4-BE49-F238E27FC236}">
                <a16:creationId xmlns:a16="http://schemas.microsoft.com/office/drawing/2014/main" id="{C37055A3-0518-9A8A-0C04-027C6CE6C9F7}"/>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 name="Freeform 2">
            <a:extLst>
              <a:ext uri="{FF2B5EF4-FFF2-40B4-BE49-F238E27FC236}">
                <a16:creationId xmlns:a16="http://schemas.microsoft.com/office/drawing/2014/main" id="{4938AFD7-9AAD-E832-42B0-CA139FBC7801}"/>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3AD35E6F-C541-D374-FB49-03D8E64073E3}"/>
              </a:ext>
            </a:extLst>
          </p:cNvPr>
          <p:cNvSpPr/>
          <p:nvPr/>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2</a:t>
            </a:fld>
            <a:endParaRPr lang="en-ZA" sz="767" b="1">
              <a:solidFill>
                <a:schemeClr val="bg1"/>
              </a:solidFill>
              <a:latin typeface="Tahoma"/>
            </a:endParaRPr>
          </a:p>
        </p:txBody>
      </p:sp>
      <p:pic>
        <p:nvPicPr>
          <p:cNvPr id="5" name="Picture 4">
            <a:extLst>
              <a:ext uri="{FF2B5EF4-FFF2-40B4-BE49-F238E27FC236}">
                <a16:creationId xmlns:a16="http://schemas.microsoft.com/office/drawing/2014/main" id="{00D190C1-ADE5-D0B0-A729-9F1FFB8847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13783395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6037A-32F2-7D61-8944-477E9F0560B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9EBE23C-CABB-8709-B778-BF4488EC35A9}"/>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ZA" dirty="0">
              <a:latin typeface="+mj-lt"/>
            </a:endParaRPr>
          </a:p>
        </p:txBody>
      </p:sp>
      <p:sp>
        <p:nvSpPr>
          <p:cNvPr id="19" name="Title 18">
            <a:extLst>
              <a:ext uri="{FF2B5EF4-FFF2-40B4-BE49-F238E27FC236}">
                <a16:creationId xmlns:a16="http://schemas.microsoft.com/office/drawing/2014/main" id="{0865A873-1F93-B640-BBAF-CB7431F54AF0}"/>
              </a:ext>
            </a:extLst>
          </p:cNvPr>
          <p:cNvSpPr>
            <a:spLocks noGrp="1"/>
          </p:cNvSpPr>
          <p:nvPr>
            <p:ph type="title"/>
          </p:nvPr>
        </p:nvSpPr>
        <p:spPr>
          <a:xfrm>
            <a:off x="283474" y="143397"/>
            <a:ext cx="10079725" cy="400110"/>
          </a:xfrm>
        </p:spPr>
        <p:txBody>
          <a:bodyPr/>
          <a:lstStyle/>
          <a:p>
            <a:r>
              <a:rPr lang="en-US" sz="2000" dirty="0">
                <a:latin typeface="+mn-lt"/>
              </a:rPr>
              <a:t>Activity</a:t>
            </a:r>
            <a:r>
              <a:rPr lang="en-US" sz="2000" dirty="0">
                <a:latin typeface="+mj-lt"/>
              </a:rPr>
              <a:t> Schedule</a:t>
            </a:r>
          </a:p>
        </p:txBody>
      </p:sp>
      <p:sp>
        <p:nvSpPr>
          <p:cNvPr id="8" name="Rectangle 2">
            <a:extLst>
              <a:ext uri="{FF2B5EF4-FFF2-40B4-BE49-F238E27FC236}">
                <a16:creationId xmlns:a16="http://schemas.microsoft.com/office/drawing/2014/main" id="{71813163-CE9B-FE50-FF8B-FBFCB2D2DD3C}"/>
              </a:ext>
            </a:extLst>
          </p:cNvPr>
          <p:cNvSpPr>
            <a:spLocks noChangeArrowheads="1"/>
          </p:cNvSpPr>
          <p:nvPr/>
        </p:nvSpPr>
        <p:spPr bwMode="auto">
          <a:xfrm>
            <a:off x="-11726403" y="630238"/>
            <a:ext cx="2878250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graphicFrame>
        <p:nvGraphicFramePr>
          <p:cNvPr id="7" name="Table 6">
            <a:extLst>
              <a:ext uri="{FF2B5EF4-FFF2-40B4-BE49-F238E27FC236}">
                <a16:creationId xmlns:a16="http://schemas.microsoft.com/office/drawing/2014/main" id="{6BF6E108-D7DF-D227-FD94-AE3F5A115DC5}"/>
              </a:ext>
            </a:extLst>
          </p:cNvPr>
          <p:cNvGraphicFramePr>
            <a:graphicFrameLocks noGrp="1"/>
          </p:cNvGraphicFramePr>
          <p:nvPr>
            <p:extLst>
              <p:ext uri="{D42A27DB-BD31-4B8C-83A1-F6EECF244321}">
                <p14:modId xmlns:p14="http://schemas.microsoft.com/office/powerpoint/2010/main" val="1677837273"/>
              </p:ext>
            </p:extLst>
          </p:nvPr>
        </p:nvGraphicFramePr>
        <p:xfrm>
          <a:off x="1612572" y="1250432"/>
          <a:ext cx="7421527" cy="5658558"/>
        </p:xfrm>
        <a:graphic>
          <a:graphicData uri="http://schemas.openxmlformats.org/drawingml/2006/table">
            <a:tbl>
              <a:tblPr firstRow="1" firstCol="1" bandRow="1"/>
              <a:tblGrid>
                <a:gridCol w="552053">
                  <a:extLst>
                    <a:ext uri="{9D8B030D-6E8A-4147-A177-3AD203B41FA5}">
                      <a16:colId xmlns:a16="http://schemas.microsoft.com/office/drawing/2014/main" val="3061303509"/>
                    </a:ext>
                  </a:extLst>
                </a:gridCol>
                <a:gridCol w="5127852">
                  <a:extLst>
                    <a:ext uri="{9D8B030D-6E8A-4147-A177-3AD203B41FA5}">
                      <a16:colId xmlns:a16="http://schemas.microsoft.com/office/drawing/2014/main" val="2232951013"/>
                    </a:ext>
                  </a:extLst>
                </a:gridCol>
                <a:gridCol w="1741622">
                  <a:extLst>
                    <a:ext uri="{9D8B030D-6E8A-4147-A177-3AD203B41FA5}">
                      <a16:colId xmlns:a16="http://schemas.microsoft.com/office/drawing/2014/main" val="1580630955"/>
                    </a:ext>
                  </a:extLst>
                </a:gridCol>
              </a:tblGrid>
              <a:tr h="118504">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tem</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ctivity Description</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p>
                      <a:pPr algn="l">
                        <a:tabLst>
                          <a:tab pos="226695" algn="l"/>
                        </a:tabLst>
                      </a:pPr>
                      <a:r>
                        <a:rPr lang="en-GB" sz="800" b="1" dirty="0">
                          <a:effectLst/>
                          <a:latin typeface="Arial" panose="020B0604020202020204" pitchFamily="34" charset="0"/>
                          <a:ea typeface="Times New Roman" panose="02020603050405020304" pitchFamily="18" charset="0"/>
                          <a:cs typeface="Times New Roman" panose="02020603050405020304" pitchFamily="18"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solidFill>
                      <a:schemeClr val="bg1">
                        <a:lumMod val="75000"/>
                      </a:schemeClr>
                    </a:solidFill>
                  </a:tcPr>
                </a:tc>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Cos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solidFill>
                      <a:schemeClr val="bg1">
                        <a:lumMod val="75000"/>
                      </a:schemeClr>
                    </a:solidFill>
                  </a:tcPr>
                </a:tc>
                <a:extLst>
                  <a:ext uri="{0D108BD9-81ED-4DB2-BD59-A6C34878D82A}">
                    <a16:rowId xmlns:a16="http://schemas.microsoft.com/office/drawing/2014/main" val="2868858077"/>
                  </a:ext>
                </a:extLst>
              </a:tr>
              <a:tr h="118504">
                <a:tc gridSpan="3">
                  <a:txBody>
                    <a:bodyPr/>
                    <a:lstStyle/>
                    <a:p>
                      <a:pPr>
                        <a:tabLst>
                          <a:tab pos="226695" algn="l"/>
                        </a:tabLst>
                      </a:pPr>
                      <a:r>
                        <a:rPr lang="en-ZA" sz="7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Ngqura Container Terminal</a:t>
                      </a:r>
                    </a:p>
                    <a:p>
                      <a:pPr>
                        <a:tabLst>
                          <a:tab pos="226695" algn="l"/>
                        </a:tabLst>
                      </a:pPr>
                      <a:endParaRPr lang="en-ZA"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725812316"/>
                  </a:ext>
                </a:extLst>
              </a:tr>
              <a:tr h="138220">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93</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b="1" dirty="0">
                          <a:effectLst/>
                          <a:latin typeface="Arial" panose="020B0604020202020204" pitchFamily="34" charset="0"/>
                          <a:ea typeface="Times New Roman" panose="02020603050405020304" pitchFamily="18" charset="0"/>
                          <a:cs typeface="Times New Roman" panose="02020603050405020304" pitchFamily="18" charset="0"/>
                        </a:rPr>
                        <a:t>Site </a:t>
                      </a:r>
                      <a:r>
                        <a:rPr lang="en-GB" sz="700" dirty="0">
                          <a:effectLst/>
                          <a:latin typeface="Arial" panose="020B0604020202020204" pitchFamily="34" charset="0"/>
                          <a:ea typeface="Times New Roman" panose="02020603050405020304" pitchFamily="18" charset="0"/>
                          <a:cs typeface="Arial" panose="020B0604020202020204" pitchFamily="34" charset="0"/>
                        </a:rPr>
                        <a:t>Survey</a:t>
                      </a:r>
                      <a:endParaRPr lang="en-ZA"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94362328"/>
                  </a:ext>
                </a:extLst>
              </a:tr>
              <a:tr h="138220">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94</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b="1">
                          <a:effectLst/>
                          <a:latin typeface="Arial" panose="020B0604020202020204" pitchFamily="34" charset="0"/>
                          <a:ea typeface="Times New Roman" panose="02020603050405020304" pitchFamily="18" charset="0"/>
                          <a:cs typeface="Times New Roman" panose="02020603050405020304" pitchFamily="18" charset="0"/>
                        </a:rPr>
                        <a:t>Functional Requirement Specification (Terminal Level)</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28224"/>
                  </a:ext>
                </a:extLst>
              </a:tr>
              <a:tr h="138220">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95</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a:t>
                      </a:r>
                      <a:r>
                        <a:rPr lang="en-GB" sz="700" b="1">
                          <a:effectLst/>
                          <a:latin typeface="Arial" panose="020B0604020202020204" pitchFamily="34" charset="0"/>
                          <a:ea typeface="Times New Roman" panose="02020603050405020304" pitchFamily="18" charset="0"/>
                          <a:cs typeface="Times New Roman" panose="02020603050405020304" pitchFamily="18" charset="0"/>
                        </a:rPr>
                        <a:t> Hardware Design</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79533040"/>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96</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Acquisition Design</a:t>
                      </a:r>
                      <a:endParaRPr lang="en-ZA" sz="700" dirty="0">
                        <a:effectLst/>
                        <a:latin typeface="Arial" panose="020B0604020202020204" pitchFamily="34" charset="0"/>
                        <a:ea typeface="Times New Roman" panose="02020603050405020304" pitchFamily="18" charset="0"/>
                        <a:cs typeface="Times New Roman" panose="02020603050405020304" pitchFamily="18" charset="0"/>
                      </a:endParaRPr>
                    </a:p>
                    <a:p>
                      <a:pPr marR="36195">
                        <a:tabLst>
                          <a:tab pos="226695" algn="l"/>
                        </a:tabLst>
                      </a:pPr>
                      <a:r>
                        <a:rPr lang="en-GB" sz="700"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Network Connectivity &amp; Communication)</a:t>
                      </a:r>
                      <a:endParaRPr lang="en-ZA"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4962632"/>
                  </a:ext>
                </a:extLst>
              </a:tr>
              <a:tr h="138220">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97</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b="1">
                          <a:effectLst/>
                          <a:latin typeface="Arial" panose="020B0604020202020204" pitchFamily="34" charset="0"/>
                          <a:ea typeface="Times New Roman" panose="02020603050405020304" pitchFamily="18" charset="0"/>
                          <a:cs typeface="Times New Roman" panose="02020603050405020304" pitchFamily="18" charset="0"/>
                        </a:rPr>
                        <a:t>Terminal System Design Blueprint</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3818263"/>
                  </a:ext>
                </a:extLst>
              </a:tr>
              <a:tr h="138220">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98</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vision of All System Hardware Based on Terminal Design</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3346443"/>
                  </a:ext>
                </a:extLst>
              </a:tr>
              <a:tr h="138220">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99</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b="1">
                          <a:effectLst/>
                          <a:latin typeface="Arial" panose="020B0604020202020204" pitchFamily="34" charset="0"/>
                          <a:ea typeface="Times New Roman" panose="02020603050405020304" pitchFamily="18" charset="0"/>
                          <a:cs typeface="Times New Roman" panose="02020603050405020304" pitchFamily="18" charset="0"/>
                        </a:rPr>
                        <a:t>Automation Hardware Installations</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5154024"/>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00</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b="1">
                          <a:effectLst/>
                          <a:latin typeface="Arial" panose="020B0604020202020204" pitchFamily="34" charset="0"/>
                          <a:ea typeface="Times New Roman" panose="02020603050405020304" pitchFamily="18" charset="0"/>
                          <a:cs typeface="Times New Roman" panose="02020603050405020304" pitchFamily="18" charset="0"/>
                        </a:rPr>
                        <a:t>Data Acquisition Setup</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5590891"/>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01</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Integration into Centralised System</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98469555"/>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02</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Testing &amp; Commissioning</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8765755"/>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03</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evelop &amp; Supply Terminal User Manuals &amp; Standard Operating Procedure Document</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0137861"/>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04</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System User Training &amp; Onboarding</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747577"/>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05</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UAT &amp; Deployment</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4406059"/>
                  </a:ext>
                </a:extLst>
              </a:tr>
              <a:tr h="118504">
                <a:tc gridSpan="3">
                  <a:txBody>
                    <a:bodyPr/>
                    <a:lstStyle/>
                    <a:p>
                      <a:pPr>
                        <a:tabLst>
                          <a:tab pos="226695" algn="l"/>
                        </a:tabLst>
                      </a:pPr>
                      <a:r>
                        <a:rPr lang="en-ZA" sz="7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Cape Town Container Terminal</a:t>
                      </a:r>
                    </a:p>
                    <a:p>
                      <a:pPr>
                        <a:tabLst>
                          <a:tab pos="226695" algn="l"/>
                        </a:tabLst>
                      </a:pPr>
                      <a:endParaRPr lang="en-ZA"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940118729"/>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06</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b="1">
                          <a:effectLst/>
                          <a:latin typeface="Arial" panose="020B0604020202020204" pitchFamily="34" charset="0"/>
                          <a:ea typeface="Times New Roman" panose="02020603050405020304" pitchFamily="18" charset="0"/>
                          <a:cs typeface="Times New Roman" panose="02020603050405020304" pitchFamily="18" charset="0"/>
                        </a:rPr>
                        <a:t>Site </a:t>
                      </a:r>
                      <a:r>
                        <a:rPr lang="en-GB" sz="700">
                          <a:effectLst/>
                          <a:latin typeface="Arial" panose="020B0604020202020204" pitchFamily="34" charset="0"/>
                          <a:ea typeface="Times New Roman" panose="02020603050405020304" pitchFamily="18" charset="0"/>
                          <a:cs typeface="Arial" panose="020B0604020202020204" pitchFamily="34" charset="0"/>
                        </a:rPr>
                        <a:t>Survey</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1467086"/>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07</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b="1">
                          <a:effectLst/>
                          <a:latin typeface="Arial" panose="020B0604020202020204" pitchFamily="34" charset="0"/>
                          <a:ea typeface="Times New Roman" panose="02020603050405020304" pitchFamily="18" charset="0"/>
                          <a:cs typeface="Times New Roman" panose="02020603050405020304" pitchFamily="18" charset="0"/>
                        </a:rPr>
                        <a:t>Functional Requirement Specification (Terminal Level)</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63246644"/>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08</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a:t>
                      </a:r>
                      <a:r>
                        <a:rPr lang="en-GB" sz="700" b="1" dirty="0">
                          <a:effectLst/>
                          <a:latin typeface="Arial" panose="020B0604020202020204" pitchFamily="34" charset="0"/>
                          <a:ea typeface="Times New Roman" panose="02020603050405020304" pitchFamily="18" charset="0"/>
                          <a:cs typeface="Times New Roman" panose="02020603050405020304" pitchFamily="18" charset="0"/>
                        </a:rPr>
                        <a:t> Hardware Design</a:t>
                      </a:r>
                      <a:endParaRPr lang="en-ZA"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36627823"/>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09</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Acquisition Design</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p>
                      <a:pPr marR="36195">
                        <a:tabLst>
                          <a:tab pos="226695" algn="l"/>
                        </a:tabLst>
                      </a:pPr>
                      <a:r>
                        <a:rPr lang="en-GB" sz="7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Network Connectivity &amp; Communication)</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78586265"/>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10</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b="1">
                          <a:effectLst/>
                          <a:latin typeface="Arial" panose="020B0604020202020204" pitchFamily="34" charset="0"/>
                          <a:ea typeface="Times New Roman" panose="02020603050405020304" pitchFamily="18" charset="0"/>
                          <a:cs typeface="Times New Roman" panose="02020603050405020304" pitchFamily="18" charset="0"/>
                        </a:rPr>
                        <a:t>Terminal System Design Blueprint</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9631440"/>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11</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vision of All System Hardware Based on Terminal Design</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0735793"/>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12</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a:t>
                      </a:r>
                      <a:r>
                        <a:rPr lang="en-GB" sz="700" b="1">
                          <a:effectLst/>
                          <a:latin typeface="Arial" panose="020B0604020202020204" pitchFamily="34" charset="0"/>
                          <a:ea typeface="Times New Roman" panose="02020603050405020304" pitchFamily="18" charset="0"/>
                          <a:cs typeface="Times New Roman" panose="02020603050405020304" pitchFamily="18" charset="0"/>
                        </a:rPr>
                        <a:t> Hardware Installations</a:t>
                      </a:r>
                      <a:r>
                        <a:rPr lang="en-GB" sz="7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incl. Calibrations &amp; Configurations)</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03939076"/>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13</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b="1">
                          <a:effectLst/>
                          <a:latin typeface="Arial" panose="020B0604020202020204" pitchFamily="34" charset="0"/>
                          <a:ea typeface="Times New Roman" panose="02020603050405020304" pitchFamily="18" charset="0"/>
                          <a:cs typeface="Times New Roman" panose="02020603050405020304" pitchFamily="18" charset="0"/>
                        </a:rPr>
                        <a:t>Data Acquisition Setup</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2714116"/>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14</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Integration into Centralised System</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77395361"/>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15</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Testing &amp; Commissioning</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65928383"/>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16</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evelop &amp; Supply Terminal User Manuals &amp; Standard Operating Procedure Document</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81751841"/>
                  </a:ext>
                </a:extLst>
              </a:tr>
              <a:tr h="207331">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17</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System User Training &amp; Onboarding</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54415683"/>
                  </a:ext>
                </a:extLst>
              </a:tr>
              <a:tr h="207331">
                <a:tc>
                  <a:txBody>
                    <a:bodyPr/>
                    <a:lstStyle/>
                    <a:p>
                      <a:pPr>
                        <a:tabLst>
                          <a:tab pos="226695" algn="l"/>
                        </a:tabLst>
                      </a:pPr>
                      <a:r>
                        <a:rPr lang="en-ZA" sz="700">
                          <a:effectLst/>
                          <a:latin typeface="Arial" panose="020B0604020202020204" pitchFamily="34" charset="0"/>
                          <a:ea typeface="Calibri" panose="020F0502020204030204" pitchFamily="34" charset="0"/>
                          <a:cs typeface="Times New Roman" panose="02020603050405020304" pitchFamily="18" charset="0"/>
                        </a:rPr>
                        <a:t>3.118</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UAT &amp; Deployment</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6254" marR="2625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2223967"/>
                  </a:ext>
                </a:extLst>
              </a:tr>
            </a:tbl>
          </a:graphicData>
        </a:graphic>
      </p:graphicFrame>
    </p:spTree>
    <p:extLst>
      <p:ext uri="{BB962C8B-B14F-4D97-AF65-F5344CB8AC3E}">
        <p14:creationId xmlns:p14="http://schemas.microsoft.com/office/powerpoint/2010/main" val="23379591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394B4C-E386-50B1-AB58-41CEFE020E6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DD980FB-8AE7-A394-C0FE-95F76D91AD8D}"/>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ZA" dirty="0">
              <a:latin typeface="+mj-lt"/>
            </a:endParaRPr>
          </a:p>
        </p:txBody>
      </p:sp>
      <p:sp>
        <p:nvSpPr>
          <p:cNvPr id="19" name="Title 18">
            <a:extLst>
              <a:ext uri="{FF2B5EF4-FFF2-40B4-BE49-F238E27FC236}">
                <a16:creationId xmlns:a16="http://schemas.microsoft.com/office/drawing/2014/main" id="{889B6A47-C32A-60A7-C4A8-8B725612E20A}"/>
              </a:ext>
            </a:extLst>
          </p:cNvPr>
          <p:cNvSpPr>
            <a:spLocks noGrp="1"/>
          </p:cNvSpPr>
          <p:nvPr>
            <p:ph type="title"/>
          </p:nvPr>
        </p:nvSpPr>
        <p:spPr>
          <a:xfrm>
            <a:off x="283474" y="143397"/>
            <a:ext cx="10079725" cy="400110"/>
          </a:xfrm>
        </p:spPr>
        <p:txBody>
          <a:bodyPr/>
          <a:lstStyle/>
          <a:p>
            <a:r>
              <a:rPr lang="en-US" sz="2000" dirty="0">
                <a:latin typeface="+mn-lt"/>
              </a:rPr>
              <a:t>Activity</a:t>
            </a:r>
            <a:r>
              <a:rPr lang="en-US" sz="2000" dirty="0">
                <a:latin typeface="+mj-lt"/>
              </a:rPr>
              <a:t> Schedule</a:t>
            </a:r>
          </a:p>
        </p:txBody>
      </p:sp>
      <p:sp>
        <p:nvSpPr>
          <p:cNvPr id="8" name="Rectangle 2">
            <a:extLst>
              <a:ext uri="{FF2B5EF4-FFF2-40B4-BE49-F238E27FC236}">
                <a16:creationId xmlns:a16="http://schemas.microsoft.com/office/drawing/2014/main" id="{568014D5-4E9C-E00F-1901-3B0E873E1262}"/>
              </a:ext>
            </a:extLst>
          </p:cNvPr>
          <p:cNvSpPr>
            <a:spLocks noChangeArrowheads="1"/>
          </p:cNvSpPr>
          <p:nvPr/>
        </p:nvSpPr>
        <p:spPr bwMode="auto">
          <a:xfrm>
            <a:off x="-11726403" y="630238"/>
            <a:ext cx="2878250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graphicFrame>
        <p:nvGraphicFramePr>
          <p:cNvPr id="5" name="Table 4">
            <a:extLst>
              <a:ext uri="{FF2B5EF4-FFF2-40B4-BE49-F238E27FC236}">
                <a16:creationId xmlns:a16="http://schemas.microsoft.com/office/drawing/2014/main" id="{6BFB826B-6B05-594F-FC87-205B70E651BB}"/>
              </a:ext>
            </a:extLst>
          </p:cNvPr>
          <p:cNvGraphicFramePr>
            <a:graphicFrameLocks noGrp="1"/>
          </p:cNvGraphicFramePr>
          <p:nvPr>
            <p:extLst>
              <p:ext uri="{D42A27DB-BD31-4B8C-83A1-F6EECF244321}">
                <p14:modId xmlns:p14="http://schemas.microsoft.com/office/powerpoint/2010/main" val="789757830"/>
              </p:ext>
            </p:extLst>
          </p:nvPr>
        </p:nvGraphicFramePr>
        <p:xfrm>
          <a:off x="1479666" y="1145188"/>
          <a:ext cx="7687340" cy="5732075"/>
        </p:xfrm>
        <a:graphic>
          <a:graphicData uri="http://schemas.openxmlformats.org/drawingml/2006/table">
            <a:tbl>
              <a:tblPr firstRow="1" firstCol="1" bandRow="1"/>
              <a:tblGrid>
                <a:gridCol w="571826">
                  <a:extLst>
                    <a:ext uri="{9D8B030D-6E8A-4147-A177-3AD203B41FA5}">
                      <a16:colId xmlns:a16="http://schemas.microsoft.com/office/drawing/2014/main" val="360867388"/>
                    </a:ext>
                  </a:extLst>
                </a:gridCol>
                <a:gridCol w="5311515">
                  <a:extLst>
                    <a:ext uri="{9D8B030D-6E8A-4147-A177-3AD203B41FA5}">
                      <a16:colId xmlns:a16="http://schemas.microsoft.com/office/drawing/2014/main" val="4255255043"/>
                    </a:ext>
                  </a:extLst>
                </a:gridCol>
                <a:gridCol w="1803999">
                  <a:extLst>
                    <a:ext uri="{9D8B030D-6E8A-4147-A177-3AD203B41FA5}">
                      <a16:colId xmlns:a16="http://schemas.microsoft.com/office/drawing/2014/main" val="908720390"/>
                    </a:ext>
                  </a:extLst>
                </a:gridCol>
              </a:tblGrid>
              <a:tr h="107808">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tem</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ctivity Description</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p>
                      <a:pPr algn="l">
                        <a:tabLst>
                          <a:tab pos="226695" algn="l"/>
                        </a:tabLst>
                      </a:pPr>
                      <a:r>
                        <a:rPr lang="en-GB" sz="800" b="1" dirty="0">
                          <a:effectLst/>
                          <a:latin typeface="Arial" panose="020B0604020202020204" pitchFamily="34" charset="0"/>
                          <a:ea typeface="Times New Roman" panose="02020603050405020304" pitchFamily="18" charset="0"/>
                          <a:cs typeface="Times New Roman" panose="02020603050405020304" pitchFamily="18"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solidFill>
                      <a:schemeClr val="bg1">
                        <a:lumMod val="75000"/>
                      </a:schemeClr>
                    </a:solidFill>
                  </a:tcPr>
                </a:tc>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Cos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solidFill>
                      <a:schemeClr val="bg1">
                        <a:lumMod val="75000"/>
                      </a:schemeClr>
                    </a:solidFill>
                  </a:tcPr>
                </a:tc>
                <a:extLst>
                  <a:ext uri="{0D108BD9-81ED-4DB2-BD59-A6C34878D82A}">
                    <a16:rowId xmlns:a16="http://schemas.microsoft.com/office/drawing/2014/main" val="1115903388"/>
                  </a:ext>
                </a:extLst>
              </a:tr>
              <a:tr h="107808">
                <a:tc gridSpan="3">
                  <a:txBody>
                    <a:bodyPr/>
                    <a:lstStyle/>
                    <a:p>
                      <a:pPr>
                        <a:tabLst>
                          <a:tab pos="226695" algn="l"/>
                        </a:tabLst>
                      </a:pPr>
                      <a:r>
                        <a:rPr lang="en-US" sz="8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Cape Town Multipurpose Terminal</a:t>
                      </a:r>
                    </a:p>
                    <a:p>
                      <a:pPr>
                        <a:tabLst>
                          <a:tab pos="226695" algn="l"/>
                        </a:tabLst>
                      </a:pP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036956295"/>
                  </a:ext>
                </a:extLst>
              </a:tr>
              <a:tr h="180515">
                <a:tc>
                  <a:txBody>
                    <a:bodyPr/>
                    <a:lstStyle/>
                    <a:p>
                      <a:pPr>
                        <a:tabLst>
                          <a:tab pos="226695" algn="l"/>
                        </a:tabLst>
                      </a:pPr>
                      <a:r>
                        <a:rPr lang="en-ZA" sz="800">
                          <a:effectLst/>
                          <a:latin typeface="Arial" panose="020B0604020202020204" pitchFamily="34" charset="0"/>
                          <a:ea typeface="Calibri" panose="020F0502020204030204" pitchFamily="34" charset="0"/>
                          <a:cs typeface="Times New Roman" panose="02020603050405020304" pitchFamily="18" charset="0"/>
                        </a:rPr>
                        <a:t>3.119</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effectLst/>
                          <a:latin typeface="Arial" panose="020B0604020202020204" pitchFamily="34" charset="0"/>
                          <a:ea typeface="Times New Roman" panose="02020603050405020304" pitchFamily="18" charset="0"/>
                          <a:cs typeface="Times New Roman" panose="02020603050405020304" pitchFamily="18" charset="0"/>
                        </a:rPr>
                        <a:t>Site </a:t>
                      </a:r>
                      <a:r>
                        <a:rPr lang="en-GB" sz="800">
                          <a:effectLst/>
                          <a:latin typeface="Arial" panose="020B0604020202020204" pitchFamily="34" charset="0"/>
                          <a:ea typeface="Times New Roman" panose="02020603050405020304" pitchFamily="18" charset="0"/>
                          <a:cs typeface="Arial" panose="020B0604020202020204" pitchFamily="34" charset="0"/>
                        </a:rPr>
                        <a:t>Survey</a:t>
                      </a:r>
                      <a:r>
                        <a:rPr lang="en-GB" sz="800">
                          <a:effectLst/>
                          <a:latin typeface="Arial" panose="020B0604020202020204" pitchFamily="34" charset="0"/>
                          <a:ea typeface="Times New Roman" panose="02020603050405020304" pitchFamily="18" charset="0"/>
                          <a:cs typeface="Times New Roman" panose="02020603050405020304" pitchFamily="18" charset="0"/>
                        </a:rPr>
                        <a:t> Assess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2761273"/>
                  </a:ext>
                </a:extLst>
              </a:tr>
              <a:tr h="180515">
                <a:tc>
                  <a:txBody>
                    <a:bodyPr/>
                    <a:lstStyle/>
                    <a:p>
                      <a:pPr>
                        <a:tabLst>
                          <a:tab pos="226695" algn="l"/>
                        </a:tabLst>
                      </a:pPr>
                      <a:r>
                        <a:rPr lang="en-ZA" sz="800">
                          <a:effectLst/>
                          <a:latin typeface="Arial" panose="020B0604020202020204" pitchFamily="34" charset="0"/>
                          <a:ea typeface="Calibri" panose="020F0502020204030204" pitchFamily="34" charset="0"/>
                          <a:cs typeface="Times New Roman" panose="02020603050405020304" pitchFamily="18" charset="0"/>
                        </a:rPr>
                        <a:t>3.120</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effectLst/>
                          <a:latin typeface="Arial" panose="020B0604020202020204" pitchFamily="34" charset="0"/>
                          <a:ea typeface="Times New Roman" panose="02020603050405020304" pitchFamily="18" charset="0"/>
                          <a:cs typeface="Times New Roman" panose="02020603050405020304" pitchFamily="18" charset="0"/>
                        </a:rPr>
                        <a:t>Functional Requirement Specification (Terminal)</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4594889"/>
                  </a:ext>
                </a:extLst>
              </a:tr>
              <a:tr h="180515">
                <a:tc>
                  <a:txBody>
                    <a:bodyPr/>
                    <a:lstStyle/>
                    <a:p>
                      <a:pPr>
                        <a:tabLst>
                          <a:tab pos="226695" algn="l"/>
                        </a:tabLst>
                      </a:pPr>
                      <a:r>
                        <a:rPr lang="en-ZA" sz="800">
                          <a:effectLst/>
                          <a:latin typeface="Arial" panose="020B0604020202020204" pitchFamily="34" charset="0"/>
                          <a:ea typeface="Calibri" panose="020F0502020204030204" pitchFamily="34" charset="0"/>
                          <a:cs typeface="Times New Roman" panose="02020603050405020304" pitchFamily="18" charset="0"/>
                        </a:rPr>
                        <a:t>3.121</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a:t>
                      </a:r>
                      <a:r>
                        <a:rPr lang="en-GB" sz="800">
                          <a:effectLst/>
                          <a:latin typeface="Tahoma" panose="020B0604030504040204" pitchFamily="34" charset="0"/>
                          <a:ea typeface="Times New Roman" panose="02020603050405020304" pitchFamily="18" charset="0"/>
                          <a:cs typeface="Times New Roman" panose="02020603050405020304" pitchFamily="18" charset="0"/>
                        </a:rPr>
                        <a:t> Hardware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2283326"/>
                  </a:ext>
                </a:extLst>
              </a:tr>
              <a:tr h="180515">
                <a:tc>
                  <a:txBody>
                    <a:bodyPr/>
                    <a:lstStyle/>
                    <a:p>
                      <a:pPr>
                        <a:tabLst>
                          <a:tab pos="226695" algn="l"/>
                        </a:tabLst>
                      </a:pPr>
                      <a:r>
                        <a:rPr lang="en-ZA" sz="800">
                          <a:effectLst/>
                          <a:latin typeface="Arial" panose="020B0604020202020204" pitchFamily="34" charset="0"/>
                          <a:ea typeface="Calibri" panose="020F0502020204030204" pitchFamily="34" charset="0"/>
                          <a:cs typeface="Times New Roman" panose="02020603050405020304" pitchFamily="18" charset="0"/>
                        </a:rPr>
                        <a:t>3.122</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Acquisition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Network Connectivity &amp; Communicatio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30693778"/>
                  </a:ext>
                </a:extLst>
              </a:tr>
              <a:tr h="180515">
                <a:tc>
                  <a:txBody>
                    <a:bodyPr/>
                    <a:lstStyle/>
                    <a:p>
                      <a:pPr>
                        <a:tabLst>
                          <a:tab pos="226695" algn="l"/>
                        </a:tabLst>
                      </a:pPr>
                      <a:r>
                        <a:rPr lang="en-ZA" sz="800">
                          <a:effectLst/>
                          <a:latin typeface="Arial" panose="020B0604020202020204" pitchFamily="34" charset="0"/>
                          <a:ea typeface="Calibri" panose="020F0502020204030204" pitchFamily="34" charset="0"/>
                          <a:cs typeface="Times New Roman" panose="02020603050405020304" pitchFamily="18" charset="0"/>
                        </a:rPr>
                        <a:t>3.123</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effectLst/>
                          <a:latin typeface="Tahoma" panose="020B0604030504040204" pitchFamily="34" charset="0"/>
                          <a:ea typeface="Times New Roman" panose="02020603050405020304" pitchFamily="18" charset="0"/>
                          <a:cs typeface="Times New Roman" panose="02020603050405020304" pitchFamily="18" charset="0"/>
                        </a:rPr>
                        <a:t>Terminal System Design Bluepri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30978373"/>
                  </a:ext>
                </a:extLst>
              </a:tr>
              <a:tr h="180515">
                <a:tc>
                  <a:txBody>
                    <a:bodyPr/>
                    <a:lstStyle/>
                    <a:p>
                      <a:pPr>
                        <a:tabLst>
                          <a:tab pos="226695" algn="l"/>
                        </a:tabLst>
                      </a:pPr>
                      <a:r>
                        <a:rPr lang="en-ZA" sz="800">
                          <a:effectLst/>
                          <a:latin typeface="Arial" panose="020B0604020202020204" pitchFamily="34" charset="0"/>
                          <a:ea typeface="Calibri" panose="020F0502020204030204" pitchFamily="34" charset="0"/>
                          <a:cs typeface="Times New Roman" panose="02020603050405020304" pitchFamily="18" charset="0"/>
                        </a:rPr>
                        <a:t>3.124</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vision of All System Hardware Based on Terminal Designs</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22984526"/>
                  </a:ext>
                </a:extLst>
              </a:tr>
              <a:tr h="180515">
                <a:tc>
                  <a:txBody>
                    <a:bodyPr/>
                    <a:lstStyle/>
                    <a:p>
                      <a:pPr>
                        <a:tabLst>
                          <a:tab pos="226695" algn="l"/>
                        </a:tabLst>
                      </a:pPr>
                      <a:r>
                        <a:rPr lang="en-ZA" sz="800">
                          <a:effectLst/>
                          <a:latin typeface="Arial" panose="020B0604020202020204" pitchFamily="34" charset="0"/>
                          <a:ea typeface="Calibri" panose="020F0502020204030204" pitchFamily="34" charset="0"/>
                          <a:cs typeface="Times New Roman" panose="02020603050405020304" pitchFamily="18" charset="0"/>
                        </a:rPr>
                        <a:t>3.126</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a:t>
                      </a:r>
                      <a:r>
                        <a:rPr lang="en-GB" sz="800">
                          <a:effectLst/>
                          <a:latin typeface="Tahoma" panose="020B0604030504040204" pitchFamily="34" charset="0"/>
                          <a:ea typeface="Times New Roman" panose="02020603050405020304" pitchFamily="18" charset="0"/>
                          <a:cs typeface="Times New Roman" panose="02020603050405020304" pitchFamily="18" charset="0"/>
                        </a:rPr>
                        <a:t> Hardware Installations</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59364850"/>
                  </a:ext>
                </a:extLst>
              </a:tr>
              <a:tr h="180515">
                <a:tc>
                  <a:txBody>
                    <a:bodyPr/>
                    <a:lstStyle/>
                    <a:p>
                      <a:pPr>
                        <a:tabLst>
                          <a:tab pos="226695" algn="l"/>
                        </a:tabLst>
                      </a:pPr>
                      <a:r>
                        <a:rPr lang="en-ZA" sz="800">
                          <a:effectLst/>
                          <a:latin typeface="Arial" panose="020B0604020202020204" pitchFamily="34" charset="0"/>
                          <a:ea typeface="Calibri" panose="020F0502020204030204" pitchFamily="34" charset="0"/>
                          <a:cs typeface="Times New Roman" panose="02020603050405020304" pitchFamily="18" charset="0"/>
                        </a:rPr>
                        <a:t>3.127</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effectLst/>
                          <a:latin typeface="Tahoma" panose="020B0604030504040204" pitchFamily="34" charset="0"/>
                          <a:ea typeface="Times New Roman" panose="02020603050405020304" pitchFamily="18" charset="0"/>
                          <a:cs typeface="Times New Roman" panose="02020603050405020304" pitchFamily="18" charset="0"/>
                        </a:rPr>
                        <a:t>Data Acquisition Setup</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8654370"/>
                  </a:ext>
                </a:extLst>
              </a:tr>
              <a:tr h="180515">
                <a:tc>
                  <a:txBody>
                    <a:bodyPr/>
                    <a:lstStyle/>
                    <a:p>
                      <a:pPr>
                        <a:tabLst>
                          <a:tab pos="226695" algn="l"/>
                        </a:tabLst>
                      </a:pPr>
                      <a:r>
                        <a:rPr lang="en-ZA" sz="800">
                          <a:effectLst/>
                          <a:latin typeface="Arial" panose="020B0604020202020204" pitchFamily="34" charset="0"/>
                          <a:ea typeface="Calibri" panose="020F0502020204030204" pitchFamily="34" charset="0"/>
                          <a:cs typeface="Times New Roman" panose="02020603050405020304" pitchFamily="18" charset="0"/>
                        </a:rPr>
                        <a:t>3.128</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Integration into Centralised System</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45234682"/>
                  </a:ext>
                </a:extLst>
              </a:tr>
              <a:tr h="180515">
                <a:tc>
                  <a:txBody>
                    <a:bodyPr/>
                    <a:lstStyle/>
                    <a:p>
                      <a:pPr>
                        <a:tabLst>
                          <a:tab pos="226695" algn="l"/>
                        </a:tabLst>
                      </a:pPr>
                      <a:r>
                        <a:rPr lang="en-ZA" sz="800">
                          <a:effectLst/>
                          <a:latin typeface="Arial" panose="020B0604020202020204" pitchFamily="34" charset="0"/>
                          <a:ea typeface="Calibri" panose="020F0502020204030204" pitchFamily="34" charset="0"/>
                          <a:cs typeface="Times New Roman" panose="02020603050405020304" pitchFamily="18" charset="0"/>
                        </a:rPr>
                        <a:t>3.129</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Testing &amp; Commission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9235250"/>
                  </a:ext>
                </a:extLst>
              </a:tr>
              <a:tr h="180515">
                <a:tc>
                  <a:txBody>
                    <a:bodyPr/>
                    <a:lstStyle/>
                    <a:p>
                      <a:pPr>
                        <a:tabLst>
                          <a:tab pos="226695" algn="l"/>
                        </a:tabLst>
                      </a:pPr>
                      <a:r>
                        <a:rPr lang="en-ZA" sz="800">
                          <a:effectLst/>
                          <a:latin typeface="Arial" panose="020B0604020202020204" pitchFamily="34" charset="0"/>
                          <a:ea typeface="Calibri" panose="020F0502020204030204" pitchFamily="34" charset="0"/>
                          <a:cs typeface="Times New Roman" panose="02020603050405020304" pitchFamily="18" charset="0"/>
                        </a:rPr>
                        <a:t>3.130</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evelop &amp; Supply Terminal User Manuals &amp; Standard Operating Procedure Docu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9950460"/>
                  </a:ext>
                </a:extLst>
              </a:tr>
              <a:tr h="180515">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1</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System User Training &amp; Onboard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2731198"/>
                  </a:ext>
                </a:extLst>
              </a:tr>
              <a:tr h="180515">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2</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UA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2380477"/>
                  </a:ext>
                </a:extLst>
              </a:tr>
              <a:tr h="180515">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4</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UAT &amp; Deploy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91534405"/>
                  </a:ext>
                </a:extLst>
              </a:tr>
              <a:tr h="107808">
                <a:tc gridSpan="3">
                  <a:txBody>
                    <a:bodyPr/>
                    <a:lstStyle/>
                    <a:p>
                      <a:pPr>
                        <a:tabLst>
                          <a:tab pos="226695" algn="l"/>
                        </a:tabLst>
                      </a:pPr>
                      <a:r>
                        <a:rPr lang="en-ZA" sz="8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Saldanha Multipurpose Terminal  </a:t>
                      </a:r>
                    </a:p>
                    <a:p>
                      <a:pPr>
                        <a:tabLst>
                          <a:tab pos="226695" algn="l"/>
                        </a:tabLst>
                      </a:pP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520173158"/>
                  </a:ext>
                </a:extLst>
              </a:tr>
              <a:tr h="180515">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5</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a:effectLst/>
                          <a:latin typeface="Arial" panose="020B0604020202020204" pitchFamily="34" charset="0"/>
                          <a:ea typeface="Times New Roman" panose="02020603050405020304" pitchFamily="18" charset="0"/>
                          <a:cs typeface="Times New Roman" panose="02020603050405020304" pitchFamily="18" charset="0"/>
                        </a:rPr>
                        <a:t>Site </a:t>
                      </a:r>
                      <a:r>
                        <a:rPr lang="en-GB" sz="800">
                          <a:effectLst/>
                          <a:latin typeface="Arial" panose="020B0604020202020204" pitchFamily="34" charset="0"/>
                          <a:ea typeface="Times New Roman" panose="02020603050405020304" pitchFamily="18" charset="0"/>
                          <a:cs typeface="Arial" panose="020B0604020202020204" pitchFamily="34" charset="0"/>
                        </a:rPr>
                        <a:t>Survey</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0440352"/>
                  </a:ext>
                </a:extLst>
              </a:tr>
              <a:tr h="180515">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6</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a:effectLst/>
                          <a:latin typeface="Arial" panose="020B0604020202020204" pitchFamily="34" charset="0"/>
                          <a:ea typeface="Times New Roman" panose="02020603050405020304" pitchFamily="18" charset="0"/>
                          <a:cs typeface="Times New Roman" panose="02020603050405020304" pitchFamily="18" charset="0"/>
                        </a:rPr>
                        <a:t>Functional Requirement Specification (Terminal)</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32994847"/>
                  </a:ext>
                </a:extLst>
              </a:tr>
              <a:tr h="180515">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7</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a:effectLst/>
                          <a:latin typeface="Arial" panose="020B0604020202020204" pitchFamily="34" charset="0"/>
                          <a:ea typeface="Times New Roman" panose="02020603050405020304" pitchFamily="18" charset="0"/>
                          <a:cs typeface="Times New Roman" panose="02020603050405020304" pitchFamily="18" charset="0"/>
                        </a:rPr>
                        <a:t>Hardware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16876030"/>
                  </a:ext>
                </a:extLst>
              </a:tr>
              <a:tr h="180515">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8</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Acquisition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Network Connectivity &amp; Communicatio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04892328"/>
                  </a:ext>
                </a:extLst>
              </a:tr>
              <a:tr h="180515">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9</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a:effectLst/>
                          <a:latin typeface="Arial" panose="020B0604020202020204" pitchFamily="34" charset="0"/>
                          <a:ea typeface="Times New Roman" panose="02020603050405020304" pitchFamily="18" charset="0"/>
                          <a:cs typeface="Times New Roman" panose="02020603050405020304" pitchFamily="18" charset="0"/>
                        </a:rPr>
                        <a:t>Terminal System Design Bluepri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4877573"/>
                  </a:ext>
                </a:extLst>
              </a:tr>
              <a:tr h="180515">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40</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vision of All System Hardware Based on Terminal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6485586"/>
                  </a:ext>
                </a:extLst>
              </a:tr>
              <a:tr h="180515">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41</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a:t>
                      </a:r>
                      <a:r>
                        <a:rPr lang="en-GB" sz="800" b="1">
                          <a:effectLst/>
                          <a:latin typeface="Arial" panose="020B0604020202020204" pitchFamily="34" charset="0"/>
                          <a:ea typeface="Times New Roman" panose="02020603050405020304" pitchFamily="18" charset="0"/>
                          <a:cs typeface="Times New Roman" panose="02020603050405020304" pitchFamily="18" charset="0"/>
                        </a:rPr>
                        <a:t> Hardware Installations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0427903"/>
                  </a:ext>
                </a:extLst>
              </a:tr>
              <a:tr h="180515">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42</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a:effectLst/>
                          <a:latin typeface="Arial" panose="020B0604020202020204" pitchFamily="34" charset="0"/>
                          <a:ea typeface="Times New Roman" panose="02020603050405020304" pitchFamily="18" charset="0"/>
                          <a:cs typeface="Times New Roman" panose="02020603050405020304" pitchFamily="18" charset="0"/>
                        </a:rPr>
                        <a:t>Data Acquisition Setup</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70193170"/>
                  </a:ext>
                </a:extLst>
              </a:tr>
              <a:tr h="180515">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43</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Integration into Centralised System</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1093746"/>
                  </a:ext>
                </a:extLst>
              </a:tr>
              <a:tr h="180515">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44</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Testing &amp; Commission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08848671"/>
                  </a:ext>
                </a:extLst>
              </a:tr>
              <a:tr h="180515">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15</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evelop &amp; Supply Terminal User Manuals &amp; Standard Operating Procedure Docu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2133616"/>
                  </a:ext>
                </a:extLst>
              </a:tr>
              <a:tr h="180515">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16</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System User Training &amp; Onboard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71869789"/>
                  </a:ext>
                </a:extLst>
              </a:tr>
              <a:tr h="180515">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17</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UAT &amp; Deploy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150" marR="231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5386932"/>
                  </a:ext>
                </a:extLst>
              </a:tr>
            </a:tbl>
          </a:graphicData>
        </a:graphic>
      </p:graphicFrame>
    </p:spTree>
    <p:extLst>
      <p:ext uri="{BB962C8B-B14F-4D97-AF65-F5344CB8AC3E}">
        <p14:creationId xmlns:p14="http://schemas.microsoft.com/office/powerpoint/2010/main" val="15661047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55D29A-174D-3FE7-5B58-6FBCB2F67B4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F984F10-A67F-9A29-5F04-1E49AF569F1E}"/>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ZA" dirty="0">
              <a:latin typeface="+mj-lt"/>
            </a:endParaRPr>
          </a:p>
        </p:txBody>
      </p:sp>
      <p:sp>
        <p:nvSpPr>
          <p:cNvPr id="19" name="Title 18">
            <a:extLst>
              <a:ext uri="{FF2B5EF4-FFF2-40B4-BE49-F238E27FC236}">
                <a16:creationId xmlns:a16="http://schemas.microsoft.com/office/drawing/2014/main" id="{91FC6F78-555F-EE77-5F54-EE32F9D47097}"/>
              </a:ext>
            </a:extLst>
          </p:cNvPr>
          <p:cNvSpPr>
            <a:spLocks noGrp="1"/>
          </p:cNvSpPr>
          <p:nvPr>
            <p:ph type="title"/>
          </p:nvPr>
        </p:nvSpPr>
        <p:spPr>
          <a:xfrm>
            <a:off x="283474" y="143397"/>
            <a:ext cx="10079725" cy="400110"/>
          </a:xfrm>
        </p:spPr>
        <p:txBody>
          <a:bodyPr/>
          <a:lstStyle/>
          <a:p>
            <a:r>
              <a:rPr lang="en-US" sz="2000" dirty="0">
                <a:latin typeface="+mn-lt"/>
              </a:rPr>
              <a:t>Activity</a:t>
            </a:r>
            <a:r>
              <a:rPr lang="en-US" sz="2000" dirty="0">
                <a:latin typeface="+mj-lt"/>
              </a:rPr>
              <a:t> Schedule</a:t>
            </a:r>
          </a:p>
        </p:txBody>
      </p:sp>
      <p:sp>
        <p:nvSpPr>
          <p:cNvPr id="8" name="Rectangle 2">
            <a:extLst>
              <a:ext uri="{FF2B5EF4-FFF2-40B4-BE49-F238E27FC236}">
                <a16:creationId xmlns:a16="http://schemas.microsoft.com/office/drawing/2014/main" id="{52DBECFC-F083-BB7D-46B8-77C2512DA5B8}"/>
              </a:ext>
            </a:extLst>
          </p:cNvPr>
          <p:cNvSpPr>
            <a:spLocks noChangeArrowheads="1"/>
          </p:cNvSpPr>
          <p:nvPr/>
        </p:nvSpPr>
        <p:spPr bwMode="auto">
          <a:xfrm>
            <a:off x="-11726403" y="630238"/>
            <a:ext cx="2878250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graphicFrame>
        <p:nvGraphicFramePr>
          <p:cNvPr id="4" name="Table 3">
            <a:extLst>
              <a:ext uri="{FF2B5EF4-FFF2-40B4-BE49-F238E27FC236}">
                <a16:creationId xmlns:a16="http://schemas.microsoft.com/office/drawing/2014/main" id="{A389E3CA-0DB3-F3FC-049F-BE6EE02C2FAF}"/>
              </a:ext>
            </a:extLst>
          </p:cNvPr>
          <p:cNvGraphicFramePr>
            <a:graphicFrameLocks noGrp="1"/>
          </p:cNvGraphicFramePr>
          <p:nvPr>
            <p:extLst>
              <p:ext uri="{D42A27DB-BD31-4B8C-83A1-F6EECF244321}">
                <p14:modId xmlns:p14="http://schemas.microsoft.com/office/powerpoint/2010/main" val="1984798795"/>
              </p:ext>
            </p:extLst>
          </p:nvPr>
        </p:nvGraphicFramePr>
        <p:xfrm>
          <a:off x="1750797" y="1285976"/>
          <a:ext cx="7145078" cy="5634336"/>
        </p:xfrm>
        <a:graphic>
          <a:graphicData uri="http://schemas.openxmlformats.org/drawingml/2006/table">
            <a:tbl>
              <a:tblPr firstRow="1" firstCol="1" bandRow="1"/>
              <a:tblGrid>
                <a:gridCol w="531489">
                  <a:extLst>
                    <a:ext uri="{9D8B030D-6E8A-4147-A177-3AD203B41FA5}">
                      <a16:colId xmlns:a16="http://schemas.microsoft.com/office/drawing/2014/main" val="2843617489"/>
                    </a:ext>
                  </a:extLst>
                </a:gridCol>
                <a:gridCol w="4936842">
                  <a:extLst>
                    <a:ext uri="{9D8B030D-6E8A-4147-A177-3AD203B41FA5}">
                      <a16:colId xmlns:a16="http://schemas.microsoft.com/office/drawing/2014/main" val="3420149579"/>
                    </a:ext>
                  </a:extLst>
                </a:gridCol>
                <a:gridCol w="1676747">
                  <a:extLst>
                    <a:ext uri="{9D8B030D-6E8A-4147-A177-3AD203B41FA5}">
                      <a16:colId xmlns:a16="http://schemas.microsoft.com/office/drawing/2014/main" val="100993540"/>
                    </a:ext>
                  </a:extLst>
                </a:gridCol>
              </a:tblGrid>
              <a:tr h="109868">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tem</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ctivity Description</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p>
                      <a:pPr algn="l">
                        <a:tabLst>
                          <a:tab pos="226695" algn="l"/>
                        </a:tabLst>
                      </a:pPr>
                      <a:r>
                        <a:rPr lang="en-GB" sz="800" b="1" dirty="0">
                          <a:effectLst/>
                          <a:latin typeface="Arial" panose="020B0604020202020204" pitchFamily="34" charset="0"/>
                          <a:ea typeface="Times New Roman" panose="02020603050405020304" pitchFamily="18" charset="0"/>
                          <a:cs typeface="Times New Roman" panose="02020603050405020304" pitchFamily="18"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solidFill>
                      <a:schemeClr val="bg1">
                        <a:lumMod val="75000"/>
                      </a:schemeClr>
                    </a:solidFill>
                  </a:tcPr>
                </a:tc>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Cos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solidFill>
                      <a:schemeClr val="bg1">
                        <a:lumMod val="75000"/>
                      </a:schemeClr>
                    </a:solidFill>
                  </a:tcPr>
                </a:tc>
                <a:extLst>
                  <a:ext uri="{0D108BD9-81ED-4DB2-BD59-A6C34878D82A}">
                    <a16:rowId xmlns:a16="http://schemas.microsoft.com/office/drawing/2014/main" val="672476301"/>
                  </a:ext>
                </a:extLst>
              </a:tr>
              <a:tr h="109868">
                <a:tc gridSpan="3">
                  <a:txBody>
                    <a:bodyPr/>
                    <a:lstStyle/>
                    <a:p>
                      <a:pPr>
                        <a:tabLst>
                          <a:tab pos="226695" algn="l"/>
                        </a:tabLst>
                      </a:pPr>
                      <a:r>
                        <a:rPr lang="en-ZA" sz="8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Northwest Terminal (</a:t>
                      </a:r>
                      <a:r>
                        <a:rPr lang="en-ZA" sz="800" b="1" dirty="0" err="1">
                          <a:solidFill>
                            <a:srgbClr val="000000"/>
                          </a:solidFill>
                          <a:effectLst/>
                          <a:latin typeface="Arial" panose="020B0604020202020204" pitchFamily="34" charset="0"/>
                          <a:ea typeface="Calibri" panose="020F0502020204030204" pitchFamily="34" charset="0"/>
                          <a:cs typeface="Arial" panose="020B0604020202020204" pitchFamily="34" charset="0"/>
                        </a:rPr>
                        <a:t>Pendoring</a:t>
                      </a:r>
                      <a:r>
                        <a:rPr lang="en-ZA" sz="8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a:t>
                      </a:r>
                    </a:p>
                    <a:p>
                      <a:pPr>
                        <a:tabLst>
                          <a:tab pos="226695" algn="l"/>
                        </a:tabLst>
                      </a:pP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107532916"/>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18</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a:effectLst/>
                          <a:latin typeface="Arial" panose="020B0604020202020204" pitchFamily="34" charset="0"/>
                          <a:ea typeface="Times New Roman" panose="02020603050405020304" pitchFamily="18" charset="0"/>
                          <a:cs typeface="Times New Roman" panose="02020603050405020304" pitchFamily="18" charset="0"/>
                        </a:rPr>
                        <a:t>Site </a:t>
                      </a:r>
                      <a:r>
                        <a:rPr lang="en-GB" sz="800">
                          <a:effectLst/>
                          <a:latin typeface="Arial" panose="020B0604020202020204" pitchFamily="34" charset="0"/>
                          <a:ea typeface="Times New Roman" panose="02020603050405020304" pitchFamily="18" charset="0"/>
                          <a:cs typeface="Arial" panose="020B0604020202020204" pitchFamily="34" charset="0"/>
                        </a:rPr>
                        <a:t>Survey</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3519938"/>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19</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a:effectLst/>
                          <a:latin typeface="Arial" panose="020B0604020202020204" pitchFamily="34" charset="0"/>
                          <a:ea typeface="Times New Roman" panose="02020603050405020304" pitchFamily="18" charset="0"/>
                          <a:cs typeface="Times New Roman" panose="02020603050405020304" pitchFamily="18" charset="0"/>
                        </a:rPr>
                        <a:t>Functional Requirement Specification (Terminal)</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43668202"/>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20</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a:effectLst/>
                          <a:latin typeface="Arial" panose="020B0604020202020204" pitchFamily="34" charset="0"/>
                          <a:ea typeface="Times New Roman" panose="02020603050405020304" pitchFamily="18" charset="0"/>
                          <a:cs typeface="Times New Roman" panose="02020603050405020304" pitchFamily="18" charset="0"/>
                        </a:rPr>
                        <a:t>Hardware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4880008"/>
                  </a:ext>
                </a:extLst>
              </a:tr>
              <a:tr h="183964">
                <a:tc>
                  <a:txBody>
                    <a:bodyPr/>
                    <a:lstStyle/>
                    <a:p>
                      <a:pPr>
                        <a:tabLst>
                          <a:tab pos="226695" algn="l"/>
                        </a:tabLst>
                      </a:pPr>
                      <a:r>
                        <a:rPr lang="en-GB" sz="800" b="1" dirty="0">
                          <a:effectLst/>
                          <a:latin typeface="Arial" panose="020B0604020202020204" pitchFamily="34" charset="0"/>
                          <a:ea typeface="Calibri" panose="020F0502020204030204" pitchFamily="34" charset="0"/>
                          <a:cs typeface="Times New Roman" panose="02020603050405020304" pitchFamily="18" charset="0"/>
                        </a:rPr>
                        <a:t>3.121</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Acquisition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Network Connectivity &amp; Communicatio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31057"/>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22</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a:effectLst/>
                          <a:latin typeface="Arial" panose="020B0604020202020204" pitchFamily="34" charset="0"/>
                          <a:ea typeface="Times New Roman" panose="02020603050405020304" pitchFamily="18" charset="0"/>
                          <a:cs typeface="Times New Roman" panose="02020603050405020304" pitchFamily="18" charset="0"/>
                        </a:rPr>
                        <a:t>Terminal System Design Bluepri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72245300"/>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23</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vision of All System Hardware Based on Terminal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27147173"/>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24</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a:t>
                      </a:r>
                      <a:r>
                        <a:rPr lang="en-GB" sz="800" b="1">
                          <a:effectLst/>
                          <a:latin typeface="Arial" panose="020B0604020202020204" pitchFamily="34" charset="0"/>
                          <a:ea typeface="Times New Roman" panose="02020603050405020304" pitchFamily="18" charset="0"/>
                          <a:cs typeface="Times New Roman" panose="02020603050405020304" pitchFamily="18" charset="0"/>
                        </a:rPr>
                        <a:t> Hardware Installations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2099312"/>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25</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a:effectLst/>
                          <a:latin typeface="Arial" panose="020B0604020202020204" pitchFamily="34" charset="0"/>
                          <a:ea typeface="Times New Roman" panose="02020603050405020304" pitchFamily="18" charset="0"/>
                          <a:cs typeface="Times New Roman" panose="02020603050405020304" pitchFamily="18" charset="0"/>
                        </a:rPr>
                        <a:t>Data Acquisition Setup</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82063101"/>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26</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Integration into Centralised System</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186440"/>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27</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Testing &amp; Commission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5940577"/>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28</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evelop &amp; Supply Terminal User Manuals &amp; Standard Operating Procedure Docu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2031514"/>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29</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System User Training &amp; Onboard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0939773"/>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0</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UAT &amp; Deployment</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82868141"/>
                  </a:ext>
                </a:extLst>
              </a:tr>
              <a:tr h="109868">
                <a:tc gridSpan="3">
                  <a:txBody>
                    <a:bodyPr/>
                    <a:lstStyle/>
                    <a:p>
                      <a:pPr>
                        <a:tabLst>
                          <a:tab pos="226695" algn="l"/>
                        </a:tabLst>
                      </a:pPr>
                      <a:r>
                        <a:rPr lang="en-ZA" sz="8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Northern Cape Terminal (</a:t>
                      </a:r>
                      <a:r>
                        <a:rPr lang="en-ZA" sz="800" b="1" dirty="0" err="1">
                          <a:solidFill>
                            <a:srgbClr val="000000"/>
                          </a:solidFill>
                          <a:effectLst/>
                          <a:latin typeface="Arial" panose="020B0604020202020204" pitchFamily="34" charset="0"/>
                          <a:ea typeface="Calibri" panose="020F0502020204030204" pitchFamily="34" charset="0"/>
                          <a:cs typeface="Arial" panose="020B0604020202020204" pitchFamily="34" charset="0"/>
                        </a:rPr>
                        <a:t>Lohatla</a:t>
                      </a:r>
                      <a:r>
                        <a:rPr lang="en-ZA" sz="8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p>
                    <a:p>
                      <a:pPr>
                        <a:tabLst>
                          <a:tab pos="226695" algn="l"/>
                        </a:tabLst>
                      </a:pP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890213100"/>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1</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a:effectLst/>
                          <a:latin typeface="Arial" panose="020B0604020202020204" pitchFamily="34" charset="0"/>
                          <a:ea typeface="Times New Roman" panose="02020603050405020304" pitchFamily="18" charset="0"/>
                          <a:cs typeface="Times New Roman" panose="02020603050405020304" pitchFamily="18" charset="0"/>
                        </a:rPr>
                        <a:t>Site </a:t>
                      </a:r>
                      <a:r>
                        <a:rPr lang="en-GB" sz="800">
                          <a:effectLst/>
                          <a:latin typeface="Arial" panose="020B0604020202020204" pitchFamily="34" charset="0"/>
                          <a:ea typeface="Times New Roman" panose="02020603050405020304" pitchFamily="18" charset="0"/>
                          <a:cs typeface="Arial" panose="020B0604020202020204" pitchFamily="34" charset="0"/>
                        </a:rPr>
                        <a:t>Survey</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65997480"/>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2</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a:effectLst/>
                          <a:latin typeface="Arial" panose="020B0604020202020204" pitchFamily="34" charset="0"/>
                          <a:ea typeface="Times New Roman" panose="02020603050405020304" pitchFamily="18" charset="0"/>
                          <a:cs typeface="Times New Roman" panose="02020603050405020304" pitchFamily="18" charset="0"/>
                        </a:rPr>
                        <a:t>Functional Requirement Specification (Terminal)</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4198294"/>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3</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dirty="0">
                          <a:effectLst/>
                          <a:latin typeface="Arial" panose="020B0604020202020204" pitchFamily="34" charset="0"/>
                          <a:ea typeface="Times New Roman" panose="02020603050405020304" pitchFamily="18" charset="0"/>
                          <a:cs typeface="Times New Roman" panose="02020603050405020304" pitchFamily="18" charset="0"/>
                        </a:rPr>
                        <a:t>Hardware Design</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80998347"/>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4</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Acquisition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Network Connectivity &amp; Communicatio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0424516"/>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5</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a:effectLst/>
                          <a:latin typeface="Arial" panose="020B0604020202020204" pitchFamily="34" charset="0"/>
                          <a:ea typeface="Times New Roman" panose="02020603050405020304" pitchFamily="18" charset="0"/>
                          <a:cs typeface="Times New Roman" panose="02020603050405020304" pitchFamily="18" charset="0"/>
                        </a:rPr>
                        <a:t>Terminal System Design Bluepri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92240415"/>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46</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vision of All System Hardware Based on Terminal Design</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6289099"/>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7</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a:t>
                      </a:r>
                      <a:r>
                        <a:rPr lang="en-GB" sz="800" b="1">
                          <a:effectLst/>
                          <a:latin typeface="Arial" panose="020B0604020202020204" pitchFamily="34" charset="0"/>
                          <a:ea typeface="Times New Roman" panose="02020603050405020304" pitchFamily="18" charset="0"/>
                          <a:cs typeface="Times New Roman" panose="02020603050405020304" pitchFamily="18" charset="0"/>
                        </a:rPr>
                        <a:t> Hardware Installations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47259629"/>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8</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b="1">
                          <a:effectLst/>
                          <a:latin typeface="Arial" panose="020B0604020202020204" pitchFamily="34" charset="0"/>
                          <a:ea typeface="Times New Roman" panose="02020603050405020304" pitchFamily="18" charset="0"/>
                          <a:cs typeface="Times New Roman" panose="02020603050405020304" pitchFamily="18" charset="0"/>
                        </a:rPr>
                        <a:t>Data Acquisition Setup</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6567704"/>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39</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Integration into Centralised System</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05062783"/>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40</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Testing &amp; Commission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48996899"/>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41</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evelop &amp; Supply Terminal User Manuals &amp; Standard Operating Procedure Document</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3257184"/>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42</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System User Training &amp; Onboarding</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44645397"/>
                  </a:ext>
                </a:extLst>
              </a:tr>
              <a:tr h="183964">
                <a:tc>
                  <a:txBody>
                    <a:bodyPr/>
                    <a:lstStyle/>
                    <a:p>
                      <a:pPr>
                        <a:tabLst>
                          <a:tab pos="226695" algn="l"/>
                        </a:tabLst>
                      </a:pPr>
                      <a:r>
                        <a:rPr lang="en-GB" sz="800" b="1">
                          <a:effectLst/>
                          <a:latin typeface="Arial" panose="020B0604020202020204" pitchFamily="34" charset="0"/>
                          <a:ea typeface="Calibri" panose="020F0502020204030204" pitchFamily="34" charset="0"/>
                          <a:cs typeface="Times New Roman" panose="02020603050405020304" pitchFamily="18" charset="0"/>
                        </a:rPr>
                        <a:t>3.143</a:t>
                      </a:r>
                      <a:endParaRPr lang="en-ZA" sz="80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UAT &amp; Deployment</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8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4001" marR="24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2084141"/>
                  </a:ext>
                </a:extLst>
              </a:tr>
            </a:tbl>
          </a:graphicData>
        </a:graphic>
      </p:graphicFrame>
    </p:spTree>
    <p:extLst>
      <p:ext uri="{BB962C8B-B14F-4D97-AF65-F5344CB8AC3E}">
        <p14:creationId xmlns:p14="http://schemas.microsoft.com/office/powerpoint/2010/main" val="26259420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A50DAD-5FCA-76D1-CB02-EC0E6B253E2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BF5BEA4-F3A4-C1C1-C40B-452BA123DBCD}"/>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ZA" dirty="0">
              <a:latin typeface="+mj-lt"/>
            </a:endParaRPr>
          </a:p>
        </p:txBody>
      </p:sp>
      <p:sp>
        <p:nvSpPr>
          <p:cNvPr id="19" name="Title 18">
            <a:extLst>
              <a:ext uri="{FF2B5EF4-FFF2-40B4-BE49-F238E27FC236}">
                <a16:creationId xmlns:a16="http://schemas.microsoft.com/office/drawing/2014/main" id="{1C92BA07-AA2D-B7B8-2855-A665D050CC32}"/>
              </a:ext>
            </a:extLst>
          </p:cNvPr>
          <p:cNvSpPr>
            <a:spLocks noGrp="1"/>
          </p:cNvSpPr>
          <p:nvPr>
            <p:ph type="title"/>
          </p:nvPr>
        </p:nvSpPr>
        <p:spPr>
          <a:xfrm>
            <a:off x="283474" y="143397"/>
            <a:ext cx="10079725" cy="400110"/>
          </a:xfrm>
        </p:spPr>
        <p:txBody>
          <a:bodyPr/>
          <a:lstStyle/>
          <a:p>
            <a:r>
              <a:rPr lang="en-US" sz="2000" dirty="0">
                <a:latin typeface="+mn-lt"/>
              </a:rPr>
              <a:t>Activity</a:t>
            </a:r>
            <a:r>
              <a:rPr lang="en-US" sz="2000" dirty="0">
                <a:latin typeface="+mj-lt"/>
              </a:rPr>
              <a:t> Schedule</a:t>
            </a:r>
          </a:p>
        </p:txBody>
      </p:sp>
      <p:sp>
        <p:nvSpPr>
          <p:cNvPr id="8" name="Rectangle 2">
            <a:extLst>
              <a:ext uri="{FF2B5EF4-FFF2-40B4-BE49-F238E27FC236}">
                <a16:creationId xmlns:a16="http://schemas.microsoft.com/office/drawing/2014/main" id="{EB440275-693D-BFE6-6133-E073DAB1AA47}"/>
              </a:ext>
            </a:extLst>
          </p:cNvPr>
          <p:cNvSpPr>
            <a:spLocks noChangeArrowheads="1"/>
          </p:cNvSpPr>
          <p:nvPr/>
        </p:nvSpPr>
        <p:spPr bwMode="auto">
          <a:xfrm>
            <a:off x="-11726403" y="630238"/>
            <a:ext cx="2878250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graphicFrame>
        <p:nvGraphicFramePr>
          <p:cNvPr id="11" name="Table 10">
            <a:extLst>
              <a:ext uri="{FF2B5EF4-FFF2-40B4-BE49-F238E27FC236}">
                <a16:creationId xmlns:a16="http://schemas.microsoft.com/office/drawing/2014/main" id="{DD5BECB1-827C-46E7-4643-45464AF75D28}"/>
              </a:ext>
            </a:extLst>
          </p:cNvPr>
          <p:cNvGraphicFramePr>
            <a:graphicFrameLocks noGrp="1"/>
          </p:cNvGraphicFramePr>
          <p:nvPr>
            <p:extLst>
              <p:ext uri="{D42A27DB-BD31-4B8C-83A1-F6EECF244321}">
                <p14:modId xmlns:p14="http://schemas.microsoft.com/office/powerpoint/2010/main" val="3883480740"/>
              </p:ext>
            </p:extLst>
          </p:nvPr>
        </p:nvGraphicFramePr>
        <p:xfrm>
          <a:off x="1251066" y="1174169"/>
          <a:ext cx="8144539" cy="3689858"/>
        </p:xfrm>
        <a:graphic>
          <a:graphicData uri="http://schemas.openxmlformats.org/drawingml/2006/table">
            <a:tbl>
              <a:tblPr firstRow="1" firstCol="1" bandRow="1"/>
              <a:tblGrid>
                <a:gridCol w="605835">
                  <a:extLst>
                    <a:ext uri="{9D8B030D-6E8A-4147-A177-3AD203B41FA5}">
                      <a16:colId xmlns:a16="http://schemas.microsoft.com/office/drawing/2014/main" val="2539340051"/>
                    </a:ext>
                  </a:extLst>
                </a:gridCol>
                <a:gridCol w="5627412">
                  <a:extLst>
                    <a:ext uri="{9D8B030D-6E8A-4147-A177-3AD203B41FA5}">
                      <a16:colId xmlns:a16="http://schemas.microsoft.com/office/drawing/2014/main" val="2138637451"/>
                    </a:ext>
                  </a:extLst>
                </a:gridCol>
                <a:gridCol w="1911292">
                  <a:extLst>
                    <a:ext uri="{9D8B030D-6E8A-4147-A177-3AD203B41FA5}">
                      <a16:colId xmlns:a16="http://schemas.microsoft.com/office/drawing/2014/main" val="619324357"/>
                    </a:ext>
                  </a:extLst>
                </a:gridCol>
              </a:tblGrid>
              <a:tr h="148498">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tem</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ctivity Description</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p>
                      <a:pPr algn="l">
                        <a:tabLst>
                          <a:tab pos="226695" algn="l"/>
                        </a:tabLst>
                      </a:pPr>
                      <a:r>
                        <a:rPr lang="en-GB" sz="800" b="1" dirty="0">
                          <a:effectLst/>
                          <a:latin typeface="Arial" panose="020B0604020202020204" pitchFamily="34" charset="0"/>
                          <a:ea typeface="Times New Roman" panose="02020603050405020304" pitchFamily="18" charset="0"/>
                          <a:cs typeface="Times New Roman" panose="02020603050405020304" pitchFamily="18" charset="0"/>
                        </a:rPr>
                        <a: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lnL w="12700" cap="flat" cmpd="sng" algn="ctr">
                      <a:solidFill>
                        <a:srgbClr val="000000"/>
                      </a:solidFill>
                      <a:prstDash val="solid"/>
                      <a:round/>
                      <a:headEnd type="none" w="med" len="med"/>
                      <a:tailEnd type="none" w="med" len="med"/>
                    </a:lnL>
                    <a:solidFill>
                      <a:schemeClr val="bg1">
                        <a:lumMod val="75000"/>
                      </a:schemeClr>
                    </a:solidFill>
                  </a:tcPr>
                </a:tc>
                <a:tc>
                  <a:txBody>
                    <a:bodyPr/>
                    <a:lstStyle/>
                    <a:p>
                      <a:pPr algn="l">
                        <a:tabLst>
                          <a:tab pos="226695" algn="l"/>
                        </a:tabLst>
                      </a:pPr>
                      <a:r>
                        <a:rPr lang="en-GB"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Cost </a:t>
                      </a:r>
                      <a:endParaRPr lang="en-Z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400" marR="53400" marT="0" marB="0">
                    <a:solidFill>
                      <a:schemeClr val="bg1">
                        <a:lumMod val="75000"/>
                      </a:schemeClr>
                    </a:solidFill>
                  </a:tcPr>
                </a:tc>
                <a:extLst>
                  <a:ext uri="{0D108BD9-81ED-4DB2-BD59-A6C34878D82A}">
                    <a16:rowId xmlns:a16="http://schemas.microsoft.com/office/drawing/2014/main" val="518696117"/>
                  </a:ext>
                </a:extLst>
              </a:tr>
              <a:tr h="148498">
                <a:tc gridSpan="3">
                  <a:txBody>
                    <a:bodyPr/>
                    <a:lstStyle/>
                    <a:p>
                      <a:pPr>
                        <a:tabLst>
                          <a:tab pos="226695" algn="l"/>
                        </a:tabLst>
                      </a:pPr>
                      <a:r>
                        <a:rPr lang="en-ZA" sz="7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Mpumalanga Terminal (Kendal) </a:t>
                      </a:r>
                    </a:p>
                    <a:p>
                      <a:pPr>
                        <a:tabLst>
                          <a:tab pos="226695" algn="l"/>
                        </a:tabLst>
                      </a:pPr>
                      <a:endParaRPr lang="en-ZA"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339407057"/>
                  </a:ext>
                </a:extLst>
              </a:tr>
              <a:tr h="248666">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44</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b="1">
                          <a:effectLst/>
                          <a:latin typeface="Arial" panose="020B0604020202020204" pitchFamily="34" charset="0"/>
                          <a:ea typeface="Times New Roman" panose="02020603050405020304" pitchFamily="18" charset="0"/>
                          <a:cs typeface="Times New Roman" panose="02020603050405020304" pitchFamily="18" charset="0"/>
                        </a:rPr>
                        <a:t>Site </a:t>
                      </a:r>
                      <a:r>
                        <a:rPr lang="en-GB" sz="700">
                          <a:effectLst/>
                          <a:latin typeface="Arial" panose="020B0604020202020204" pitchFamily="34" charset="0"/>
                          <a:ea typeface="Times New Roman" panose="02020603050405020304" pitchFamily="18" charset="0"/>
                          <a:cs typeface="Arial" panose="020B0604020202020204" pitchFamily="34" charset="0"/>
                        </a:rPr>
                        <a:t>Survey</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93049557"/>
                  </a:ext>
                </a:extLst>
              </a:tr>
              <a:tr h="248666">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45</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b="1">
                          <a:effectLst/>
                          <a:latin typeface="Arial" panose="020B0604020202020204" pitchFamily="34" charset="0"/>
                          <a:ea typeface="Times New Roman" panose="02020603050405020304" pitchFamily="18" charset="0"/>
                          <a:cs typeface="Times New Roman" panose="02020603050405020304" pitchFamily="18" charset="0"/>
                        </a:rPr>
                        <a:t>Functional Requirement Specification (Terminal)</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96665898"/>
                  </a:ext>
                </a:extLst>
              </a:tr>
              <a:tr h="248666">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46</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b="1" dirty="0">
                          <a:effectLst/>
                          <a:latin typeface="Arial" panose="020B0604020202020204" pitchFamily="34" charset="0"/>
                          <a:ea typeface="Times New Roman" panose="02020603050405020304" pitchFamily="18" charset="0"/>
                          <a:cs typeface="Times New Roman" panose="02020603050405020304" pitchFamily="18" charset="0"/>
                        </a:rPr>
                        <a:t>Hardware Design</a:t>
                      </a:r>
                      <a:endParaRPr lang="en-ZA"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8380677"/>
                  </a:ext>
                </a:extLst>
              </a:tr>
              <a:tr h="248666">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47</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Acquisition Design</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p>
                      <a:pPr marR="36195">
                        <a:tabLst>
                          <a:tab pos="226695" algn="l"/>
                        </a:tabLst>
                      </a:pPr>
                      <a:r>
                        <a:rPr lang="en-GB" sz="7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ata Network Connectivity &amp; Communication)</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1258087"/>
                  </a:ext>
                </a:extLst>
              </a:tr>
              <a:tr h="248666">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48</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b="1">
                          <a:effectLst/>
                          <a:latin typeface="Arial" panose="020B0604020202020204" pitchFamily="34" charset="0"/>
                          <a:ea typeface="Times New Roman" panose="02020603050405020304" pitchFamily="18" charset="0"/>
                          <a:cs typeface="Times New Roman" panose="02020603050405020304" pitchFamily="18" charset="0"/>
                        </a:rPr>
                        <a:t>Terminal System Design Blueprint</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68341608"/>
                  </a:ext>
                </a:extLst>
              </a:tr>
              <a:tr h="248666">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49</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vision of All System Hardware Based on Terminal Design</a:t>
                      </a:r>
                      <a:endParaRPr lang="en-ZA"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16894395"/>
                  </a:ext>
                </a:extLst>
              </a:tr>
              <a:tr h="248666">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50</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tomation</a:t>
                      </a:r>
                      <a:r>
                        <a:rPr lang="en-GB" sz="700" b="1">
                          <a:effectLst/>
                          <a:latin typeface="Arial" panose="020B0604020202020204" pitchFamily="34" charset="0"/>
                          <a:ea typeface="Times New Roman" panose="02020603050405020304" pitchFamily="18" charset="0"/>
                          <a:cs typeface="Times New Roman" panose="02020603050405020304" pitchFamily="18" charset="0"/>
                        </a:rPr>
                        <a:t> Hardware Installations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1514808"/>
                  </a:ext>
                </a:extLst>
              </a:tr>
              <a:tr h="248666">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51</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b="1">
                          <a:effectLst/>
                          <a:latin typeface="Arial" panose="020B0604020202020204" pitchFamily="34" charset="0"/>
                          <a:ea typeface="Times New Roman" panose="02020603050405020304" pitchFamily="18" charset="0"/>
                          <a:cs typeface="Times New Roman" panose="02020603050405020304" pitchFamily="18" charset="0"/>
                        </a:rPr>
                        <a:t>Data Acquisition Setup</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53431885"/>
                  </a:ext>
                </a:extLst>
              </a:tr>
              <a:tr h="248666">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52</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Integration into Centralised System</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8505439"/>
                  </a:ext>
                </a:extLst>
              </a:tr>
              <a:tr h="248666">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53</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Testing &amp; Commissioning</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3143843"/>
                  </a:ext>
                </a:extLst>
              </a:tr>
              <a:tr h="248666">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54</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Develop &amp; Supply Terminal User Manuals &amp; Standard Operating Procedure Document</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7517453"/>
                  </a:ext>
                </a:extLst>
              </a:tr>
              <a:tr h="248666">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55</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erminal System User Training &amp; Onboarding</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46215354"/>
                  </a:ext>
                </a:extLst>
              </a:tr>
              <a:tr h="248666">
                <a:tc>
                  <a:txBody>
                    <a:bodyPr/>
                    <a:lstStyle/>
                    <a:p>
                      <a:pPr>
                        <a:tabLst>
                          <a:tab pos="226695" algn="l"/>
                        </a:tabLst>
                      </a:pPr>
                      <a:r>
                        <a:rPr lang="en-GB" sz="700" b="1">
                          <a:effectLst/>
                          <a:latin typeface="Arial" panose="020B0604020202020204" pitchFamily="34" charset="0"/>
                          <a:ea typeface="Calibri" panose="020F0502020204030204" pitchFamily="34" charset="0"/>
                          <a:cs typeface="Times New Roman" panose="02020603050405020304" pitchFamily="18" charset="0"/>
                        </a:rPr>
                        <a:t>3.156</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7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inal System UAT &amp; Deployment</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7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002" marR="48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49443794"/>
                  </a:ext>
                </a:extLst>
              </a:tr>
            </a:tbl>
          </a:graphicData>
        </a:graphic>
      </p:graphicFrame>
      <p:graphicFrame>
        <p:nvGraphicFramePr>
          <p:cNvPr id="12" name="Table 11">
            <a:extLst>
              <a:ext uri="{FF2B5EF4-FFF2-40B4-BE49-F238E27FC236}">
                <a16:creationId xmlns:a16="http://schemas.microsoft.com/office/drawing/2014/main" id="{89976684-71CD-36AC-3A2E-990AC75C0530}"/>
              </a:ext>
            </a:extLst>
          </p:cNvPr>
          <p:cNvGraphicFramePr>
            <a:graphicFrameLocks noGrp="1"/>
          </p:cNvGraphicFramePr>
          <p:nvPr>
            <p:extLst>
              <p:ext uri="{D42A27DB-BD31-4B8C-83A1-F6EECF244321}">
                <p14:modId xmlns:p14="http://schemas.microsoft.com/office/powerpoint/2010/main" val="2280644835"/>
              </p:ext>
            </p:extLst>
          </p:nvPr>
        </p:nvGraphicFramePr>
        <p:xfrm>
          <a:off x="1251067" y="4764696"/>
          <a:ext cx="8144538" cy="1130761"/>
        </p:xfrm>
        <a:graphic>
          <a:graphicData uri="http://schemas.openxmlformats.org/drawingml/2006/table">
            <a:tbl>
              <a:tblPr firstRow="1" firstCol="1" bandRow="1"/>
              <a:tblGrid>
                <a:gridCol w="599074">
                  <a:extLst>
                    <a:ext uri="{9D8B030D-6E8A-4147-A177-3AD203B41FA5}">
                      <a16:colId xmlns:a16="http://schemas.microsoft.com/office/drawing/2014/main" val="2419318742"/>
                    </a:ext>
                  </a:extLst>
                </a:gridCol>
                <a:gridCol w="5602063">
                  <a:extLst>
                    <a:ext uri="{9D8B030D-6E8A-4147-A177-3AD203B41FA5}">
                      <a16:colId xmlns:a16="http://schemas.microsoft.com/office/drawing/2014/main" val="4180047635"/>
                    </a:ext>
                  </a:extLst>
                </a:gridCol>
                <a:gridCol w="1943401">
                  <a:extLst>
                    <a:ext uri="{9D8B030D-6E8A-4147-A177-3AD203B41FA5}">
                      <a16:colId xmlns:a16="http://schemas.microsoft.com/office/drawing/2014/main" val="1787857556"/>
                    </a:ext>
                  </a:extLst>
                </a:gridCol>
              </a:tblGrid>
              <a:tr h="298299">
                <a:tc gridSpan="3">
                  <a:txBody>
                    <a:bodyPr/>
                    <a:lstStyle/>
                    <a:p>
                      <a:pPr>
                        <a:tabLst>
                          <a:tab pos="226695" algn="l"/>
                        </a:tabLst>
                      </a:pPr>
                      <a:r>
                        <a:rPr lang="en-ZA" sz="1000" b="1" u="sng">
                          <a:solidFill>
                            <a:srgbClr val="000000"/>
                          </a:solidFill>
                          <a:effectLst/>
                          <a:latin typeface="Arial" panose="020B0604020202020204" pitchFamily="34" charset="0"/>
                          <a:ea typeface="Calibri" panose="020F0502020204030204" pitchFamily="34" charset="0"/>
                          <a:cs typeface="Arial" panose="020B0604020202020204" pitchFamily="34" charset="0"/>
                        </a:rPr>
                        <a:t>SECTION 4 MAINTENANCE &amp; SUPPORT</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702312066"/>
                  </a:ext>
                </a:extLst>
              </a:tr>
              <a:tr h="499477">
                <a:tc>
                  <a:txBody>
                    <a:bodyPr/>
                    <a:lstStyle/>
                    <a:p>
                      <a:pPr>
                        <a:tabLst>
                          <a:tab pos="226695" algn="l"/>
                        </a:tabLst>
                      </a:pPr>
                      <a:r>
                        <a:rPr lang="en-ZA" sz="1000">
                          <a:solidFill>
                            <a:srgbClr val="000000"/>
                          </a:solidFill>
                          <a:effectLst/>
                          <a:latin typeface="Arial" panose="020B0604020202020204" pitchFamily="34" charset="0"/>
                          <a:ea typeface="Calibri" panose="020F0502020204030204" pitchFamily="34" charset="0"/>
                          <a:cs typeface="Arial" panose="020B0604020202020204" pitchFamily="34" charset="0"/>
                        </a:rPr>
                        <a:t>4.1</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GB" sz="1000" dirty="0">
                          <a:effectLst/>
                          <a:latin typeface="Arial" panose="020B0604020202020204" pitchFamily="34" charset="0"/>
                          <a:ea typeface="Times New Roman" panose="02020603050405020304" pitchFamily="18" charset="0"/>
                          <a:cs typeface="Times New Roman" panose="02020603050405020304" pitchFamily="18" charset="0"/>
                        </a:rPr>
                        <a:t>Full System Automation Hardware &amp; Dashboard Maintenance &amp; Support for 36 months</a:t>
                      </a:r>
                      <a:endParaRPr lang="en-Z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10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04093609"/>
                  </a:ext>
                </a:extLst>
              </a:tr>
              <a:tr h="332985">
                <a:tc>
                  <a:txBody>
                    <a:bodyPr/>
                    <a:lstStyle/>
                    <a:p>
                      <a:pPr>
                        <a:tabLst>
                          <a:tab pos="226695" algn="l"/>
                        </a:tabLst>
                      </a:pPr>
                      <a:r>
                        <a:rPr lang="en-ZA" sz="1000">
                          <a:solidFill>
                            <a:srgbClr val="000000"/>
                          </a:solidFill>
                          <a:effectLst/>
                          <a:latin typeface="Arial" panose="020B0604020202020204" pitchFamily="34" charset="0"/>
                          <a:ea typeface="Calibri" panose="020F0502020204030204" pitchFamily="34" charset="0"/>
                          <a:cs typeface="Arial" panose="020B0604020202020204" pitchFamily="34" charset="0"/>
                        </a:rPr>
                        <a:t>4.2</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36195">
                        <a:tabLst>
                          <a:tab pos="226695" algn="l"/>
                        </a:tabLst>
                      </a:pPr>
                      <a:r>
                        <a:rPr lang="en-GB" sz="1000">
                          <a:effectLst/>
                          <a:latin typeface="Arial" panose="020B0604020202020204" pitchFamily="34" charset="0"/>
                          <a:ea typeface="Times New Roman" panose="02020603050405020304" pitchFamily="18" charset="0"/>
                          <a:cs typeface="Arial" panose="020B0604020202020204" pitchFamily="34" charset="0"/>
                        </a:rPr>
                        <a:t>Skills Transfer Training </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p>
                      <a:pPr marR="36195">
                        <a:tabLst>
                          <a:tab pos="226695" algn="l"/>
                        </a:tabLst>
                      </a:pPr>
                      <a:r>
                        <a:rPr lang="en-GB" sz="800" i="1">
                          <a:effectLst/>
                          <a:latin typeface="Arial" panose="020B0604020202020204" pitchFamily="34" charset="0"/>
                          <a:ea typeface="Times New Roman" panose="02020603050405020304" pitchFamily="18" charset="0"/>
                          <a:cs typeface="Times New Roman" panose="02020603050405020304" pitchFamily="18" charset="0"/>
                        </a:rPr>
                        <a:t>*note: post go live</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tabLst>
                          <a:tab pos="226695" algn="l"/>
                        </a:tabLst>
                      </a:pPr>
                      <a:r>
                        <a:rPr lang="en-ZA" sz="10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36791678"/>
                  </a:ext>
                </a:extLst>
              </a:tr>
            </a:tbl>
          </a:graphicData>
        </a:graphic>
      </p:graphicFrame>
      <p:graphicFrame>
        <p:nvGraphicFramePr>
          <p:cNvPr id="14" name="Table 13">
            <a:extLst>
              <a:ext uri="{FF2B5EF4-FFF2-40B4-BE49-F238E27FC236}">
                <a16:creationId xmlns:a16="http://schemas.microsoft.com/office/drawing/2014/main" id="{A309064E-C424-1310-78F5-87EBDA84554D}"/>
              </a:ext>
            </a:extLst>
          </p:cNvPr>
          <p:cNvGraphicFramePr>
            <a:graphicFrameLocks noGrp="1"/>
          </p:cNvGraphicFramePr>
          <p:nvPr>
            <p:extLst>
              <p:ext uri="{D42A27DB-BD31-4B8C-83A1-F6EECF244321}">
                <p14:modId xmlns:p14="http://schemas.microsoft.com/office/powerpoint/2010/main" val="3463867746"/>
              </p:ext>
            </p:extLst>
          </p:nvPr>
        </p:nvGraphicFramePr>
        <p:xfrm>
          <a:off x="5118100" y="6069532"/>
          <a:ext cx="4288285" cy="260350"/>
        </p:xfrm>
        <a:graphic>
          <a:graphicData uri="http://schemas.openxmlformats.org/drawingml/2006/table">
            <a:tbl>
              <a:tblPr firstRow="1" firstCol="1" bandRow="1"/>
              <a:tblGrid>
                <a:gridCol w="2321430">
                  <a:extLst>
                    <a:ext uri="{9D8B030D-6E8A-4147-A177-3AD203B41FA5}">
                      <a16:colId xmlns:a16="http://schemas.microsoft.com/office/drawing/2014/main" val="2847299961"/>
                    </a:ext>
                  </a:extLst>
                </a:gridCol>
                <a:gridCol w="1966855">
                  <a:extLst>
                    <a:ext uri="{9D8B030D-6E8A-4147-A177-3AD203B41FA5}">
                      <a16:colId xmlns:a16="http://schemas.microsoft.com/office/drawing/2014/main" val="2248283083"/>
                    </a:ext>
                  </a:extLst>
                </a:gridCol>
              </a:tblGrid>
              <a:tr h="234950">
                <a:tc>
                  <a:txBody>
                    <a:bodyPr/>
                    <a:lstStyle/>
                    <a:p>
                      <a:pPr>
                        <a:tabLst>
                          <a:tab pos="226695" algn="l"/>
                        </a:tabLst>
                      </a:pPr>
                      <a:r>
                        <a:rPr lang="en-GB" sz="1000">
                          <a:effectLst/>
                          <a:latin typeface="Arial" panose="020B0604020202020204" pitchFamily="34" charset="0"/>
                          <a:ea typeface="Times New Roman" panose="02020603050405020304" pitchFamily="18" charset="0"/>
                          <a:cs typeface="Arial" panose="020B0604020202020204" pitchFamily="34" charset="0"/>
                        </a:rPr>
                        <a:t>Total Price Excluding VAT</a:t>
                      </a:r>
                      <a:endParaRPr lang="en-ZA"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53975" marB="53975">
                    <a:lnL>
                      <a:noFill/>
                    </a:lnL>
                    <a:lnR w="19050" cap="flat" cmpd="dbl" algn="ctr">
                      <a:solidFill>
                        <a:srgbClr val="000000"/>
                      </a:solidFill>
                      <a:prstDash val="solid"/>
                      <a:round/>
                      <a:headEnd type="none" w="med" len="med"/>
                      <a:tailEnd type="none" w="med" len="med"/>
                    </a:lnR>
                    <a:lnT>
                      <a:noFill/>
                    </a:lnT>
                    <a:lnB>
                      <a:noFill/>
                    </a:lnB>
                    <a:noFill/>
                  </a:tcPr>
                </a:tc>
                <a:tc>
                  <a:txBody>
                    <a:bodyPr/>
                    <a:lstStyle/>
                    <a:p>
                      <a:pPr>
                        <a:tabLst>
                          <a:tab pos="226695" algn="l"/>
                        </a:tabLst>
                      </a:pPr>
                      <a:r>
                        <a:rPr lang="en-GB" sz="1000" dirty="0">
                          <a:effectLst/>
                          <a:latin typeface="Arial" panose="020B0604020202020204" pitchFamily="34" charset="0"/>
                          <a:ea typeface="Times New Roman" panose="02020603050405020304" pitchFamily="18" charset="0"/>
                          <a:cs typeface="Arial" panose="020B0604020202020204" pitchFamily="34" charset="0"/>
                        </a:rPr>
                        <a:t> </a:t>
                      </a:r>
                      <a:endParaRPr lang="en-Z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53975" marB="53975">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2106351012"/>
                  </a:ext>
                </a:extLst>
              </a:tr>
            </a:tbl>
          </a:graphicData>
        </a:graphic>
      </p:graphicFrame>
    </p:spTree>
    <p:extLst>
      <p:ext uri="{BB962C8B-B14F-4D97-AF65-F5344CB8AC3E}">
        <p14:creationId xmlns:p14="http://schemas.microsoft.com/office/powerpoint/2010/main" val="22520717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Graphic 2">
            <a:extLst>
              <a:ext uri="{FF2B5EF4-FFF2-40B4-BE49-F238E27FC236}">
                <a16:creationId xmlns:a16="http://schemas.microsoft.com/office/drawing/2014/main" id="{1AAE0263-097E-BD53-FF21-7D7BAD027D0D}"/>
              </a:ext>
            </a:extLst>
          </p:cNvPr>
          <p:cNvSpPr/>
          <p:nvPr/>
        </p:nvSpPr>
        <p:spPr>
          <a:xfrm>
            <a:off x="-4438" y="680"/>
            <a:ext cx="12183186" cy="6880473"/>
          </a:xfrm>
          <a:custGeom>
            <a:avLst/>
            <a:gdLst>
              <a:gd name="connsiteX0" fmla="*/ 0 w 9184957"/>
              <a:gd name="connsiteY0" fmla="*/ 0 h 5187219"/>
              <a:gd name="connsiteX1" fmla="*/ 0 w 9184957"/>
              <a:gd name="connsiteY1" fmla="*/ 5187220 h 5187219"/>
              <a:gd name="connsiteX2" fmla="*/ 9184957 w 9184957"/>
              <a:gd name="connsiteY2" fmla="*/ 5187220 h 5187219"/>
              <a:gd name="connsiteX3" fmla="*/ 9184957 w 9184957"/>
              <a:gd name="connsiteY3" fmla="*/ 0 h 5187219"/>
              <a:gd name="connsiteX4" fmla="*/ 7313962 w 9184957"/>
              <a:gd name="connsiteY4" fmla="*/ 853345 h 5187219"/>
              <a:gd name="connsiteX5" fmla="*/ 2378297 w 9184957"/>
              <a:gd name="connsiteY5" fmla="*/ 853345 h 5187219"/>
              <a:gd name="connsiteX6" fmla="*/ 2219325 w 9184957"/>
              <a:gd name="connsiteY6" fmla="*/ 1142524 h 5187219"/>
              <a:gd name="connsiteX7" fmla="*/ 1930908 w 9184957"/>
              <a:gd name="connsiteY7" fmla="*/ 1144429 h 5187219"/>
              <a:gd name="connsiteX8" fmla="*/ 1754600 w 9184957"/>
              <a:gd name="connsiteY8" fmla="*/ 853345 h 5187219"/>
              <a:gd name="connsiteX9" fmla="*/ 1089089 w 9184957"/>
              <a:gd name="connsiteY9" fmla="*/ 853345 h 5187219"/>
              <a:gd name="connsiteX10" fmla="*/ 646367 w 9184957"/>
              <a:gd name="connsiteY10" fmla="*/ 1596961 h 5187219"/>
              <a:gd name="connsiteX11" fmla="*/ 646367 w 9184957"/>
              <a:gd name="connsiteY11" fmla="*/ 2122456 h 5187219"/>
              <a:gd name="connsiteX12" fmla="*/ 923925 w 9184957"/>
              <a:gd name="connsiteY12" fmla="*/ 2553938 h 5187219"/>
              <a:gd name="connsiteX13" fmla="*/ 1338644 w 9184957"/>
              <a:gd name="connsiteY13" fmla="*/ 2553938 h 5187219"/>
              <a:gd name="connsiteX14" fmla="*/ 1400651 w 9184957"/>
              <a:gd name="connsiteY14" fmla="*/ 2446401 h 5187219"/>
              <a:gd name="connsiteX15" fmla="*/ 2143125 w 9184957"/>
              <a:gd name="connsiteY15" fmla="*/ 2446401 h 5187219"/>
              <a:gd name="connsiteX16" fmla="*/ 2249996 w 9184957"/>
              <a:gd name="connsiteY16" fmla="*/ 2637568 h 5187219"/>
              <a:gd name="connsiteX17" fmla="*/ 2249996 w 9184957"/>
              <a:gd name="connsiteY17" fmla="*/ 3031807 h 5187219"/>
              <a:gd name="connsiteX18" fmla="*/ 2390299 w 9184957"/>
              <a:gd name="connsiteY18" fmla="*/ 3276124 h 5187219"/>
              <a:gd name="connsiteX19" fmla="*/ 2389537 w 9184957"/>
              <a:gd name="connsiteY19" fmla="*/ 3535680 h 5187219"/>
              <a:gd name="connsiteX20" fmla="*/ 2625185 w 9184957"/>
              <a:gd name="connsiteY20" fmla="*/ 3964305 h 5187219"/>
              <a:gd name="connsiteX21" fmla="*/ 2625185 w 9184957"/>
              <a:gd name="connsiteY21" fmla="*/ 4296251 h 5187219"/>
              <a:gd name="connsiteX22" fmla="*/ 2847975 w 9184957"/>
              <a:gd name="connsiteY22" fmla="*/ 4558475 h 5187219"/>
              <a:gd name="connsiteX23" fmla="*/ 3111341 w 9184957"/>
              <a:gd name="connsiteY23" fmla="*/ 4560094 h 5187219"/>
              <a:gd name="connsiteX24" fmla="*/ 3248406 w 9184957"/>
              <a:gd name="connsiteY24" fmla="*/ 4332065 h 5187219"/>
              <a:gd name="connsiteX25" fmla="*/ 3248406 w 9184957"/>
              <a:gd name="connsiteY25" fmla="*/ 4113562 h 5187219"/>
              <a:gd name="connsiteX26" fmla="*/ 3634454 w 9184957"/>
              <a:gd name="connsiteY26" fmla="*/ 3508438 h 5187219"/>
              <a:gd name="connsiteX27" fmla="*/ 3634454 w 9184957"/>
              <a:gd name="connsiteY27" fmla="*/ 3102578 h 5187219"/>
              <a:gd name="connsiteX28" fmla="*/ 3858482 w 9184957"/>
              <a:gd name="connsiteY28" fmla="*/ 2749201 h 5187219"/>
              <a:gd name="connsiteX29" fmla="*/ 4080224 w 9184957"/>
              <a:gd name="connsiteY29" fmla="*/ 2751582 h 5187219"/>
              <a:gd name="connsiteX30" fmla="*/ 4357212 w 9184957"/>
              <a:gd name="connsiteY30" fmla="*/ 2267140 h 5187219"/>
              <a:gd name="connsiteX31" fmla="*/ 3769328 w 9184957"/>
              <a:gd name="connsiteY31" fmla="*/ 2267140 h 5187219"/>
              <a:gd name="connsiteX32" fmla="*/ 3541490 w 9184957"/>
              <a:gd name="connsiteY32" fmla="*/ 1875663 h 5187219"/>
              <a:gd name="connsiteX33" fmla="*/ 3541967 w 9184957"/>
              <a:gd name="connsiteY33" fmla="*/ 1558861 h 5187219"/>
              <a:gd name="connsiteX34" fmla="*/ 3233071 w 9184957"/>
              <a:gd name="connsiteY34" fmla="*/ 1132046 h 5187219"/>
              <a:gd name="connsiteX35" fmla="*/ 2543175 w 9184957"/>
              <a:gd name="connsiteY35" fmla="*/ 1132046 h 5187219"/>
              <a:gd name="connsiteX36" fmla="*/ 2358390 w 9184957"/>
              <a:gd name="connsiteY36" fmla="*/ 1469326 h 5187219"/>
              <a:gd name="connsiteX37" fmla="*/ 1789462 w 9184957"/>
              <a:gd name="connsiteY37" fmla="*/ 1469326 h 5187219"/>
              <a:gd name="connsiteX38" fmla="*/ 1586579 w 9184957"/>
              <a:gd name="connsiteY38" fmla="*/ 1122521 h 5187219"/>
              <a:gd name="connsiteX39" fmla="*/ 1223772 w 9184957"/>
              <a:gd name="connsiteY39" fmla="*/ 1122521 h 5187219"/>
              <a:gd name="connsiteX40" fmla="*/ 905637 w 9184957"/>
              <a:gd name="connsiteY40" fmla="*/ 1686211 h 5187219"/>
              <a:gd name="connsiteX41" fmla="*/ 912876 w 9184957"/>
              <a:gd name="connsiteY41" fmla="*/ 2030920 h 5187219"/>
              <a:gd name="connsiteX42" fmla="*/ 1082516 w 9184957"/>
              <a:gd name="connsiteY42" fmla="*/ 2275522 h 5187219"/>
              <a:gd name="connsiteX43" fmla="*/ 1204913 w 9184957"/>
              <a:gd name="connsiteY43" fmla="*/ 2275522 h 5187219"/>
              <a:gd name="connsiteX44" fmla="*/ 1308259 w 9184957"/>
              <a:gd name="connsiteY44" fmla="*/ 2140553 h 5187219"/>
              <a:gd name="connsiteX45" fmla="*/ 2273141 w 9184957"/>
              <a:gd name="connsiteY45" fmla="*/ 2140553 h 5187219"/>
              <a:gd name="connsiteX46" fmla="*/ 2515172 w 9184957"/>
              <a:gd name="connsiteY46" fmla="*/ 2581370 h 5187219"/>
              <a:gd name="connsiteX47" fmla="*/ 2515172 w 9184957"/>
              <a:gd name="connsiteY47" fmla="*/ 2986087 h 5187219"/>
              <a:gd name="connsiteX48" fmla="*/ 2655856 w 9184957"/>
              <a:gd name="connsiteY48" fmla="*/ 3227546 h 5187219"/>
              <a:gd name="connsiteX49" fmla="*/ 2655856 w 9184957"/>
              <a:gd name="connsiteY49" fmla="*/ 3474053 h 5187219"/>
              <a:gd name="connsiteX50" fmla="*/ 2908364 w 9184957"/>
              <a:gd name="connsiteY50" fmla="*/ 3896487 h 5187219"/>
              <a:gd name="connsiteX51" fmla="*/ 2908364 w 9184957"/>
              <a:gd name="connsiteY51" fmla="*/ 4147566 h 5187219"/>
              <a:gd name="connsiteX52" fmla="*/ 2978182 w 9184957"/>
              <a:gd name="connsiteY52" fmla="*/ 4238530 h 5187219"/>
              <a:gd name="connsiteX53" fmla="*/ 3007995 w 9184957"/>
              <a:gd name="connsiteY53" fmla="*/ 4189285 h 5187219"/>
              <a:gd name="connsiteX54" fmla="*/ 3007995 w 9184957"/>
              <a:gd name="connsiteY54" fmla="*/ 4002786 h 5187219"/>
              <a:gd name="connsiteX55" fmla="*/ 3367088 w 9184957"/>
              <a:gd name="connsiteY55" fmla="*/ 3428143 h 5187219"/>
              <a:gd name="connsiteX56" fmla="*/ 3370136 w 9184957"/>
              <a:gd name="connsiteY56" fmla="*/ 2983325 h 5187219"/>
              <a:gd name="connsiteX57" fmla="*/ 3644360 w 9184957"/>
              <a:gd name="connsiteY57" fmla="*/ 2522791 h 5187219"/>
              <a:gd name="connsiteX58" fmla="*/ 3933254 w 9184957"/>
              <a:gd name="connsiteY58" fmla="*/ 2521744 h 5187219"/>
              <a:gd name="connsiteX59" fmla="*/ 3948017 w 9184957"/>
              <a:gd name="connsiteY59" fmla="*/ 2496883 h 5187219"/>
              <a:gd name="connsiteX60" fmla="*/ 3623691 w 9184957"/>
              <a:gd name="connsiteY60" fmla="*/ 2495645 h 5187219"/>
              <a:gd name="connsiteX61" fmla="*/ 3280791 w 9184957"/>
              <a:gd name="connsiteY61" fmla="*/ 1932908 h 5187219"/>
              <a:gd name="connsiteX62" fmla="*/ 3291364 w 9184957"/>
              <a:gd name="connsiteY62" fmla="*/ 1650492 h 5187219"/>
              <a:gd name="connsiteX63" fmla="*/ 3120676 w 9184957"/>
              <a:gd name="connsiteY63" fmla="*/ 1399889 h 5187219"/>
              <a:gd name="connsiteX64" fmla="*/ 2690432 w 9184957"/>
              <a:gd name="connsiteY64" fmla="*/ 1397603 h 5187219"/>
              <a:gd name="connsiteX65" fmla="*/ 2502408 w 9184957"/>
              <a:gd name="connsiteY65" fmla="*/ 1727358 h 5187219"/>
              <a:gd name="connsiteX66" fmla="*/ 1621060 w 9184957"/>
              <a:gd name="connsiteY66" fmla="*/ 1727358 h 5187219"/>
              <a:gd name="connsiteX67" fmla="*/ 1451229 w 9184957"/>
              <a:gd name="connsiteY67" fmla="*/ 1410843 h 5187219"/>
              <a:gd name="connsiteX68" fmla="*/ 1390650 w 9184957"/>
              <a:gd name="connsiteY68" fmla="*/ 1410843 h 5187219"/>
              <a:gd name="connsiteX69" fmla="*/ 1192149 w 9184957"/>
              <a:gd name="connsiteY69" fmla="*/ 1788128 h 5187219"/>
              <a:gd name="connsiteX70" fmla="*/ 1193292 w 9184957"/>
              <a:gd name="connsiteY70" fmla="*/ 1845278 h 5187219"/>
              <a:gd name="connsiteX71" fmla="*/ 2688717 w 9184957"/>
              <a:gd name="connsiteY71" fmla="*/ 1846135 h 5187219"/>
              <a:gd name="connsiteX72" fmla="*/ 2839688 w 9184957"/>
              <a:gd name="connsiteY72" fmla="*/ 1550003 h 5187219"/>
              <a:gd name="connsiteX73" fmla="*/ 3044190 w 9184957"/>
              <a:gd name="connsiteY73" fmla="*/ 1550003 h 5187219"/>
              <a:gd name="connsiteX74" fmla="*/ 3173254 w 9184957"/>
              <a:gd name="connsiteY74" fmla="*/ 1720120 h 5187219"/>
              <a:gd name="connsiteX75" fmla="*/ 3173254 w 9184957"/>
              <a:gd name="connsiteY75" fmla="*/ 2044922 h 5187219"/>
              <a:gd name="connsiteX76" fmla="*/ 3491865 w 9184957"/>
              <a:gd name="connsiteY76" fmla="*/ 2578703 h 5187219"/>
              <a:gd name="connsiteX77" fmla="*/ 3251740 w 9184957"/>
              <a:gd name="connsiteY77" fmla="*/ 2938939 h 5187219"/>
              <a:gd name="connsiteX78" fmla="*/ 3246025 w 9184957"/>
              <a:gd name="connsiteY78" fmla="*/ 3409188 h 5187219"/>
              <a:gd name="connsiteX79" fmla="*/ 2984754 w 9184957"/>
              <a:gd name="connsiteY79" fmla="*/ 3802570 h 5187219"/>
              <a:gd name="connsiteX80" fmla="*/ 2746629 w 9184957"/>
              <a:gd name="connsiteY80" fmla="*/ 3403187 h 5187219"/>
              <a:gd name="connsiteX81" fmla="*/ 2746629 w 9184957"/>
              <a:gd name="connsiteY81" fmla="*/ 3118866 h 5187219"/>
              <a:gd name="connsiteX82" fmla="*/ 2642712 w 9184957"/>
              <a:gd name="connsiteY82" fmla="*/ 2948654 h 5187219"/>
              <a:gd name="connsiteX83" fmla="*/ 2642712 w 9184957"/>
              <a:gd name="connsiteY83" fmla="*/ 2548604 h 5187219"/>
              <a:gd name="connsiteX84" fmla="*/ 2397443 w 9184957"/>
              <a:gd name="connsiteY84" fmla="*/ 2133219 h 5187219"/>
              <a:gd name="connsiteX85" fmla="*/ 2899791 w 9184957"/>
              <a:gd name="connsiteY85" fmla="*/ 2133219 h 5187219"/>
              <a:gd name="connsiteX86" fmla="*/ 3168015 w 9184957"/>
              <a:gd name="connsiteY86" fmla="*/ 2554986 h 5187219"/>
              <a:gd name="connsiteX87" fmla="*/ 3011138 w 9184957"/>
              <a:gd name="connsiteY87" fmla="*/ 2791968 h 5187219"/>
              <a:gd name="connsiteX88" fmla="*/ 3011138 w 9184957"/>
              <a:gd name="connsiteY88" fmla="*/ 2837021 h 5187219"/>
              <a:gd name="connsiteX89" fmla="*/ 2849213 w 9184957"/>
              <a:gd name="connsiteY89" fmla="*/ 2837021 h 5187219"/>
              <a:gd name="connsiteX90" fmla="*/ 2849213 w 9184957"/>
              <a:gd name="connsiteY90" fmla="*/ 2743200 h 5187219"/>
              <a:gd name="connsiteX91" fmla="*/ 2975039 w 9184957"/>
              <a:gd name="connsiteY91" fmla="*/ 2552700 h 5187219"/>
              <a:gd name="connsiteX92" fmla="*/ 2810923 w 9184957"/>
              <a:gd name="connsiteY92" fmla="*/ 2294668 h 5187219"/>
              <a:gd name="connsiteX93" fmla="*/ 2681288 w 9184957"/>
              <a:gd name="connsiteY93" fmla="*/ 2294668 h 5187219"/>
              <a:gd name="connsiteX94" fmla="*/ 2805113 w 9184957"/>
              <a:gd name="connsiteY94" fmla="*/ 2504218 h 5187219"/>
              <a:gd name="connsiteX95" fmla="*/ 2805113 w 9184957"/>
              <a:gd name="connsiteY95" fmla="*/ 2903410 h 5187219"/>
              <a:gd name="connsiteX96" fmla="*/ 2909030 w 9184957"/>
              <a:gd name="connsiteY96" fmla="*/ 3073622 h 5187219"/>
              <a:gd name="connsiteX97" fmla="*/ 2909030 w 9184957"/>
              <a:gd name="connsiteY97" fmla="*/ 3359372 h 5187219"/>
              <a:gd name="connsiteX98" fmla="*/ 2992470 w 9184957"/>
              <a:gd name="connsiteY98" fmla="*/ 3499485 h 5187219"/>
              <a:gd name="connsiteX99" fmla="*/ 3084671 w 9184957"/>
              <a:gd name="connsiteY99" fmla="*/ 3359753 h 5187219"/>
              <a:gd name="connsiteX100" fmla="*/ 3090482 w 9184957"/>
              <a:gd name="connsiteY100" fmla="*/ 2889313 h 5187219"/>
              <a:gd name="connsiteX101" fmla="*/ 3300508 w 9184957"/>
              <a:gd name="connsiteY101" fmla="*/ 2574322 h 5187219"/>
              <a:gd name="connsiteX102" fmla="*/ 3011329 w 9184957"/>
              <a:gd name="connsiteY102" fmla="*/ 2089308 h 5187219"/>
              <a:gd name="connsiteX103" fmla="*/ 3011329 w 9184957"/>
              <a:gd name="connsiteY103" fmla="*/ 1774317 h 5187219"/>
              <a:gd name="connsiteX104" fmla="*/ 2963704 w 9184957"/>
              <a:gd name="connsiteY104" fmla="*/ 1711642 h 5187219"/>
              <a:gd name="connsiteX105" fmla="*/ 2938748 w 9184957"/>
              <a:gd name="connsiteY105" fmla="*/ 1711642 h 5187219"/>
              <a:gd name="connsiteX106" fmla="*/ 2787396 w 9184957"/>
              <a:gd name="connsiteY106" fmla="*/ 2008251 h 5187219"/>
              <a:gd name="connsiteX107" fmla="*/ 1243489 w 9184957"/>
              <a:gd name="connsiteY107" fmla="*/ 2007203 h 5187219"/>
              <a:gd name="connsiteX108" fmla="*/ 1170908 w 9184957"/>
              <a:gd name="connsiteY108" fmla="*/ 2068544 h 5187219"/>
              <a:gd name="connsiteX109" fmla="*/ 1086993 w 9184957"/>
              <a:gd name="connsiteY109" fmla="*/ 2069973 h 5187219"/>
              <a:gd name="connsiteX110" fmla="*/ 1034606 w 9184957"/>
              <a:gd name="connsiteY110" fmla="*/ 2000631 h 5187219"/>
              <a:gd name="connsiteX111" fmla="*/ 1029367 w 9184957"/>
              <a:gd name="connsiteY111" fmla="*/ 1750028 h 5187219"/>
              <a:gd name="connsiteX112" fmla="*/ 1293400 w 9184957"/>
              <a:gd name="connsiteY112" fmla="*/ 1249299 h 5187219"/>
              <a:gd name="connsiteX113" fmla="*/ 1548194 w 9184957"/>
              <a:gd name="connsiteY113" fmla="*/ 1249299 h 5187219"/>
              <a:gd name="connsiteX114" fmla="*/ 1717929 w 9184957"/>
              <a:gd name="connsiteY114" fmla="*/ 1565815 h 5187219"/>
              <a:gd name="connsiteX115" fmla="*/ 2408301 w 9184957"/>
              <a:gd name="connsiteY115" fmla="*/ 1565815 h 5187219"/>
              <a:gd name="connsiteX116" fmla="*/ 2596706 w 9184957"/>
              <a:gd name="connsiteY116" fmla="*/ 1235488 h 5187219"/>
              <a:gd name="connsiteX117" fmla="*/ 3206306 w 9184957"/>
              <a:gd name="connsiteY117" fmla="*/ 1238821 h 5187219"/>
              <a:gd name="connsiteX118" fmla="*/ 3454908 w 9184957"/>
              <a:gd name="connsiteY118" fmla="*/ 1603724 h 5187219"/>
              <a:gd name="connsiteX119" fmla="*/ 3444145 w 9184957"/>
              <a:gd name="connsiteY119" fmla="*/ 1890617 h 5187219"/>
              <a:gd name="connsiteX120" fmla="*/ 3714750 w 9184957"/>
              <a:gd name="connsiteY120" fmla="*/ 2334101 h 5187219"/>
              <a:gd name="connsiteX121" fmla="*/ 4231672 w 9184957"/>
              <a:gd name="connsiteY121" fmla="*/ 2336006 h 5187219"/>
              <a:gd name="connsiteX122" fmla="*/ 4025741 w 9184957"/>
              <a:gd name="connsiteY122" fmla="*/ 2683478 h 5187219"/>
              <a:gd name="connsiteX123" fmla="*/ 3736562 w 9184957"/>
              <a:gd name="connsiteY123" fmla="*/ 2684621 h 5187219"/>
              <a:gd name="connsiteX124" fmla="*/ 3531775 w 9184957"/>
              <a:gd name="connsiteY124" fmla="*/ 3028569 h 5187219"/>
              <a:gd name="connsiteX125" fmla="*/ 3528727 w 9184957"/>
              <a:gd name="connsiteY125" fmla="*/ 3475291 h 5187219"/>
              <a:gd name="connsiteX126" fmla="*/ 3169920 w 9184957"/>
              <a:gd name="connsiteY126" fmla="*/ 4049268 h 5187219"/>
              <a:gd name="connsiteX127" fmla="*/ 3169920 w 9184957"/>
              <a:gd name="connsiteY127" fmla="*/ 4234148 h 5187219"/>
              <a:gd name="connsiteX128" fmla="*/ 3056763 w 9184957"/>
              <a:gd name="connsiteY128" fmla="*/ 4421124 h 5187219"/>
              <a:gd name="connsiteX129" fmla="*/ 2914650 w 9184957"/>
              <a:gd name="connsiteY129" fmla="*/ 4421124 h 5187219"/>
              <a:gd name="connsiteX130" fmla="*/ 2746724 w 9184957"/>
              <a:gd name="connsiteY130" fmla="*/ 4202049 h 5187219"/>
              <a:gd name="connsiteX131" fmla="*/ 2746724 w 9184957"/>
              <a:gd name="connsiteY131" fmla="*/ 3940778 h 5187219"/>
              <a:gd name="connsiteX132" fmla="*/ 2494217 w 9184957"/>
              <a:gd name="connsiteY132" fmla="*/ 3518440 h 5187219"/>
              <a:gd name="connsiteX133" fmla="*/ 2494217 w 9184957"/>
              <a:gd name="connsiteY133" fmla="*/ 3271361 h 5187219"/>
              <a:gd name="connsiteX134" fmla="*/ 2353532 w 9184957"/>
              <a:gd name="connsiteY134" fmla="*/ 3029902 h 5187219"/>
              <a:gd name="connsiteX135" fmla="*/ 2353532 w 9184957"/>
              <a:gd name="connsiteY135" fmla="*/ 2622994 h 5187219"/>
              <a:gd name="connsiteX136" fmla="*/ 2177320 w 9184957"/>
              <a:gd name="connsiteY136" fmla="*/ 2302478 h 5187219"/>
              <a:gd name="connsiteX137" fmla="*/ 1388269 w 9184957"/>
              <a:gd name="connsiteY137" fmla="*/ 2302478 h 5187219"/>
              <a:gd name="connsiteX138" fmla="*/ 1284827 w 9184957"/>
              <a:gd name="connsiteY138" fmla="*/ 2437733 h 5187219"/>
              <a:gd name="connsiteX139" fmla="*/ 997744 w 9184957"/>
              <a:gd name="connsiteY139" fmla="*/ 2437733 h 5187219"/>
              <a:gd name="connsiteX140" fmla="*/ 752475 w 9184957"/>
              <a:gd name="connsiteY140" fmla="*/ 2083403 h 5187219"/>
              <a:gd name="connsiteX141" fmla="*/ 742950 w 9184957"/>
              <a:gd name="connsiteY141" fmla="*/ 1645253 h 5187219"/>
              <a:gd name="connsiteX142" fmla="*/ 1129475 w 9184957"/>
              <a:gd name="connsiteY142" fmla="*/ 960501 h 5187219"/>
              <a:gd name="connsiteX143" fmla="*/ 1679639 w 9184957"/>
              <a:gd name="connsiteY143" fmla="*/ 960501 h 5187219"/>
              <a:gd name="connsiteX144" fmla="*/ 1882521 w 9184957"/>
              <a:gd name="connsiteY144" fmla="*/ 1307306 h 5187219"/>
              <a:gd name="connsiteX145" fmla="*/ 2262569 w 9184957"/>
              <a:gd name="connsiteY145" fmla="*/ 1307306 h 5187219"/>
              <a:gd name="connsiteX146" fmla="*/ 2447354 w 9184957"/>
              <a:gd name="connsiteY146" fmla="*/ 970026 h 5187219"/>
              <a:gd name="connsiteX147" fmla="*/ 3316034 w 9184957"/>
              <a:gd name="connsiteY147" fmla="*/ 970026 h 5187219"/>
              <a:gd name="connsiteX148" fmla="*/ 3704082 w 9184957"/>
              <a:gd name="connsiteY148" fmla="*/ 1506474 h 5187219"/>
              <a:gd name="connsiteX149" fmla="*/ 3704082 w 9184957"/>
              <a:gd name="connsiteY149" fmla="*/ 1831943 h 5187219"/>
              <a:gd name="connsiteX150" fmla="*/ 3863054 w 9184957"/>
              <a:gd name="connsiteY150" fmla="*/ 2105120 h 5187219"/>
              <a:gd name="connsiteX151" fmla="*/ 4637056 w 9184957"/>
              <a:gd name="connsiteY151" fmla="*/ 2105120 h 5187219"/>
              <a:gd name="connsiteX152" fmla="*/ 4174331 w 9184957"/>
              <a:gd name="connsiteY152" fmla="*/ 2914745 h 5187219"/>
              <a:gd name="connsiteX153" fmla="*/ 3947160 w 9184957"/>
              <a:gd name="connsiteY153" fmla="*/ 2912078 h 5187219"/>
              <a:gd name="connsiteX154" fmla="*/ 3796570 w 9184957"/>
              <a:gd name="connsiteY154" fmla="*/ 3150203 h 5187219"/>
              <a:gd name="connsiteX155" fmla="*/ 3796570 w 9184957"/>
              <a:gd name="connsiteY155" fmla="*/ 3555968 h 5187219"/>
              <a:gd name="connsiteX156" fmla="*/ 3410522 w 9184957"/>
              <a:gd name="connsiteY156" fmla="*/ 4160806 h 5187219"/>
              <a:gd name="connsiteX157" fmla="*/ 3410522 w 9184957"/>
              <a:gd name="connsiteY157" fmla="*/ 4377023 h 5187219"/>
              <a:gd name="connsiteX158" fmla="*/ 3202781 w 9184957"/>
              <a:gd name="connsiteY158" fmla="*/ 4722590 h 5187219"/>
              <a:gd name="connsiteX159" fmla="*/ 2772823 w 9184957"/>
              <a:gd name="connsiteY159" fmla="*/ 4719923 h 5187219"/>
              <a:gd name="connsiteX160" fmla="*/ 2463070 w 9184957"/>
              <a:gd name="connsiteY160" fmla="*/ 4355306 h 5187219"/>
              <a:gd name="connsiteX161" fmla="*/ 2463070 w 9184957"/>
              <a:gd name="connsiteY161" fmla="*/ 4005548 h 5187219"/>
              <a:gd name="connsiteX162" fmla="*/ 2227326 w 9184957"/>
              <a:gd name="connsiteY162" fmla="*/ 3576923 h 5187219"/>
              <a:gd name="connsiteX163" fmla="*/ 2228088 w 9184957"/>
              <a:gd name="connsiteY163" fmla="*/ 3318986 h 5187219"/>
              <a:gd name="connsiteX164" fmla="*/ 2087880 w 9184957"/>
              <a:gd name="connsiteY164" fmla="*/ 3074956 h 5187219"/>
              <a:gd name="connsiteX165" fmla="*/ 2087880 w 9184957"/>
              <a:gd name="connsiteY165" fmla="*/ 2679668 h 5187219"/>
              <a:gd name="connsiteX166" fmla="*/ 2047970 w 9184957"/>
              <a:gd name="connsiteY166" fmla="*/ 2608231 h 5187219"/>
              <a:gd name="connsiteX167" fmla="*/ 1494282 w 9184957"/>
              <a:gd name="connsiteY167" fmla="*/ 2608231 h 5187219"/>
              <a:gd name="connsiteX168" fmla="*/ 1432179 w 9184957"/>
              <a:gd name="connsiteY168" fmla="*/ 2715768 h 5187219"/>
              <a:gd name="connsiteX169" fmla="*/ 835724 w 9184957"/>
              <a:gd name="connsiteY169" fmla="*/ 2715768 h 5187219"/>
              <a:gd name="connsiteX170" fmla="*/ 484442 w 9184957"/>
              <a:gd name="connsiteY170" fmla="*/ 2170081 h 5187219"/>
              <a:gd name="connsiteX171" fmla="*/ 484442 w 9184957"/>
              <a:gd name="connsiteY171" fmla="*/ 1552384 h 5187219"/>
              <a:gd name="connsiteX172" fmla="*/ 997077 w 9184957"/>
              <a:gd name="connsiteY172" fmla="*/ 691420 h 5187219"/>
              <a:gd name="connsiteX173" fmla="*/ 1845850 w 9184957"/>
              <a:gd name="connsiteY173" fmla="*/ 691420 h 5187219"/>
              <a:gd name="connsiteX174" fmla="*/ 2021967 w 9184957"/>
              <a:gd name="connsiteY174" fmla="*/ 981837 h 5187219"/>
              <a:gd name="connsiteX175" fmla="*/ 2123408 w 9184957"/>
              <a:gd name="connsiteY175" fmla="*/ 981170 h 5187219"/>
              <a:gd name="connsiteX176" fmla="*/ 2282476 w 9184957"/>
              <a:gd name="connsiteY176" fmla="*/ 691420 h 5187219"/>
              <a:gd name="connsiteX177" fmla="*/ 7313962 w 9184957"/>
              <a:gd name="connsiteY177" fmla="*/ 691420 h 518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9184957" h="5187219">
                <a:moveTo>
                  <a:pt x="0" y="0"/>
                </a:moveTo>
                <a:lnTo>
                  <a:pt x="0" y="5187220"/>
                </a:lnTo>
                <a:lnTo>
                  <a:pt x="9184957" y="5187220"/>
                </a:lnTo>
                <a:lnTo>
                  <a:pt x="9184957" y="0"/>
                </a:lnTo>
                <a:close/>
                <a:moveTo>
                  <a:pt x="7313962" y="853345"/>
                </a:moveTo>
                <a:lnTo>
                  <a:pt x="2378297" y="853345"/>
                </a:lnTo>
                <a:lnTo>
                  <a:pt x="2219325" y="1142524"/>
                </a:lnTo>
                <a:lnTo>
                  <a:pt x="1930908" y="1144429"/>
                </a:lnTo>
                <a:lnTo>
                  <a:pt x="1754600" y="853345"/>
                </a:lnTo>
                <a:lnTo>
                  <a:pt x="1089089" y="853345"/>
                </a:lnTo>
                <a:lnTo>
                  <a:pt x="646367" y="1596961"/>
                </a:lnTo>
                <a:lnTo>
                  <a:pt x="646367" y="2122456"/>
                </a:lnTo>
                <a:lnTo>
                  <a:pt x="923925" y="2553938"/>
                </a:lnTo>
                <a:lnTo>
                  <a:pt x="1338644" y="2553938"/>
                </a:lnTo>
                <a:lnTo>
                  <a:pt x="1400651" y="2446401"/>
                </a:lnTo>
                <a:lnTo>
                  <a:pt x="2143125" y="2446401"/>
                </a:lnTo>
                <a:lnTo>
                  <a:pt x="2249996" y="2637568"/>
                </a:lnTo>
                <a:lnTo>
                  <a:pt x="2249996" y="3031807"/>
                </a:lnTo>
                <a:lnTo>
                  <a:pt x="2390299" y="3276124"/>
                </a:lnTo>
                <a:lnTo>
                  <a:pt x="2389537" y="3535680"/>
                </a:lnTo>
                <a:lnTo>
                  <a:pt x="2625185" y="3964305"/>
                </a:lnTo>
                <a:lnTo>
                  <a:pt x="2625185" y="4296251"/>
                </a:lnTo>
                <a:lnTo>
                  <a:pt x="2847975" y="4558475"/>
                </a:lnTo>
                <a:lnTo>
                  <a:pt x="3111341" y="4560094"/>
                </a:lnTo>
                <a:lnTo>
                  <a:pt x="3248406" y="4332065"/>
                </a:lnTo>
                <a:lnTo>
                  <a:pt x="3248406" y="4113562"/>
                </a:lnTo>
                <a:lnTo>
                  <a:pt x="3634454" y="3508438"/>
                </a:lnTo>
                <a:lnTo>
                  <a:pt x="3634454" y="3102578"/>
                </a:lnTo>
                <a:lnTo>
                  <a:pt x="3858482" y="2749201"/>
                </a:lnTo>
                <a:lnTo>
                  <a:pt x="4080224" y="2751582"/>
                </a:lnTo>
                <a:lnTo>
                  <a:pt x="4357212" y="2267140"/>
                </a:lnTo>
                <a:lnTo>
                  <a:pt x="3769328" y="2267140"/>
                </a:lnTo>
                <a:lnTo>
                  <a:pt x="3541490" y="1875663"/>
                </a:lnTo>
                <a:lnTo>
                  <a:pt x="3541967" y="1558861"/>
                </a:lnTo>
                <a:lnTo>
                  <a:pt x="3233071" y="1132046"/>
                </a:lnTo>
                <a:lnTo>
                  <a:pt x="2543175" y="1132046"/>
                </a:lnTo>
                <a:lnTo>
                  <a:pt x="2358390" y="1469326"/>
                </a:lnTo>
                <a:lnTo>
                  <a:pt x="1789462" y="1469326"/>
                </a:lnTo>
                <a:lnTo>
                  <a:pt x="1586579" y="1122521"/>
                </a:lnTo>
                <a:lnTo>
                  <a:pt x="1223772" y="1122521"/>
                </a:lnTo>
                <a:lnTo>
                  <a:pt x="905637" y="1686211"/>
                </a:lnTo>
                <a:lnTo>
                  <a:pt x="912876" y="2030920"/>
                </a:lnTo>
                <a:lnTo>
                  <a:pt x="1082516" y="2275522"/>
                </a:lnTo>
                <a:lnTo>
                  <a:pt x="1204913" y="2275522"/>
                </a:lnTo>
                <a:lnTo>
                  <a:pt x="1308259" y="2140553"/>
                </a:lnTo>
                <a:lnTo>
                  <a:pt x="2273141" y="2140553"/>
                </a:lnTo>
                <a:lnTo>
                  <a:pt x="2515172" y="2581370"/>
                </a:lnTo>
                <a:lnTo>
                  <a:pt x="2515172" y="2986087"/>
                </a:lnTo>
                <a:lnTo>
                  <a:pt x="2655856" y="3227546"/>
                </a:lnTo>
                <a:lnTo>
                  <a:pt x="2655856" y="3474053"/>
                </a:lnTo>
                <a:lnTo>
                  <a:pt x="2908364" y="3896487"/>
                </a:lnTo>
                <a:lnTo>
                  <a:pt x="2908364" y="4147566"/>
                </a:lnTo>
                <a:lnTo>
                  <a:pt x="2978182" y="4238530"/>
                </a:lnTo>
                <a:lnTo>
                  <a:pt x="3007995" y="4189285"/>
                </a:lnTo>
                <a:lnTo>
                  <a:pt x="3007995" y="4002786"/>
                </a:lnTo>
                <a:lnTo>
                  <a:pt x="3367088" y="3428143"/>
                </a:lnTo>
                <a:lnTo>
                  <a:pt x="3370136" y="2983325"/>
                </a:lnTo>
                <a:lnTo>
                  <a:pt x="3644360" y="2522791"/>
                </a:lnTo>
                <a:lnTo>
                  <a:pt x="3933254" y="2521744"/>
                </a:lnTo>
                <a:lnTo>
                  <a:pt x="3948017" y="2496883"/>
                </a:lnTo>
                <a:lnTo>
                  <a:pt x="3623691" y="2495645"/>
                </a:lnTo>
                <a:lnTo>
                  <a:pt x="3280791" y="1932908"/>
                </a:lnTo>
                <a:lnTo>
                  <a:pt x="3291364" y="1650492"/>
                </a:lnTo>
                <a:lnTo>
                  <a:pt x="3120676" y="1399889"/>
                </a:lnTo>
                <a:lnTo>
                  <a:pt x="2690432" y="1397603"/>
                </a:lnTo>
                <a:lnTo>
                  <a:pt x="2502408" y="1727358"/>
                </a:lnTo>
                <a:lnTo>
                  <a:pt x="1621060" y="1727358"/>
                </a:lnTo>
                <a:lnTo>
                  <a:pt x="1451229" y="1410843"/>
                </a:lnTo>
                <a:lnTo>
                  <a:pt x="1390650" y="1410843"/>
                </a:lnTo>
                <a:lnTo>
                  <a:pt x="1192149" y="1788128"/>
                </a:lnTo>
                <a:lnTo>
                  <a:pt x="1193292" y="1845278"/>
                </a:lnTo>
                <a:lnTo>
                  <a:pt x="2688717" y="1846135"/>
                </a:lnTo>
                <a:lnTo>
                  <a:pt x="2839688" y="1550003"/>
                </a:lnTo>
                <a:lnTo>
                  <a:pt x="3044190" y="1550003"/>
                </a:lnTo>
                <a:lnTo>
                  <a:pt x="3173254" y="1720120"/>
                </a:lnTo>
                <a:lnTo>
                  <a:pt x="3173254" y="2044922"/>
                </a:lnTo>
                <a:lnTo>
                  <a:pt x="3491865" y="2578703"/>
                </a:lnTo>
                <a:lnTo>
                  <a:pt x="3251740" y="2938939"/>
                </a:lnTo>
                <a:lnTo>
                  <a:pt x="3246025" y="3409188"/>
                </a:lnTo>
                <a:lnTo>
                  <a:pt x="2984754" y="3802570"/>
                </a:lnTo>
                <a:lnTo>
                  <a:pt x="2746629" y="3403187"/>
                </a:lnTo>
                <a:lnTo>
                  <a:pt x="2746629" y="3118866"/>
                </a:lnTo>
                <a:lnTo>
                  <a:pt x="2642712" y="2948654"/>
                </a:lnTo>
                <a:lnTo>
                  <a:pt x="2642712" y="2548604"/>
                </a:lnTo>
                <a:lnTo>
                  <a:pt x="2397443" y="2133219"/>
                </a:lnTo>
                <a:lnTo>
                  <a:pt x="2899791" y="2133219"/>
                </a:lnTo>
                <a:lnTo>
                  <a:pt x="3168015" y="2554986"/>
                </a:lnTo>
                <a:lnTo>
                  <a:pt x="3011138" y="2791968"/>
                </a:lnTo>
                <a:lnTo>
                  <a:pt x="3011138" y="2837021"/>
                </a:lnTo>
                <a:lnTo>
                  <a:pt x="2849213" y="2837021"/>
                </a:lnTo>
                <a:lnTo>
                  <a:pt x="2849213" y="2743200"/>
                </a:lnTo>
                <a:lnTo>
                  <a:pt x="2975039" y="2552700"/>
                </a:lnTo>
                <a:lnTo>
                  <a:pt x="2810923" y="2294668"/>
                </a:lnTo>
                <a:lnTo>
                  <a:pt x="2681288" y="2294668"/>
                </a:lnTo>
                <a:lnTo>
                  <a:pt x="2805113" y="2504218"/>
                </a:lnTo>
                <a:lnTo>
                  <a:pt x="2805113" y="2903410"/>
                </a:lnTo>
                <a:lnTo>
                  <a:pt x="2909030" y="3073622"/>
                </a:lnTo>
                <a:lnTo>
                  <a:pt x="2909030" y="3359372"/>
                </a:lnTo>
                <a:lnTo>
                  <a:pt x="2992470" y="3499485"/>
                </a:lnTo>
                <a:lnTo>
                  <a:pt x="3084671" y="3359753"/>
                </a:lnTo>
                <a:lnTo>
                  <a:pt x="3090482" y="2889313"/>
                </a:lnTo>
                <a:lnTo>
                  <a:pt x="3300508" y="2574322"/>
                </a:lnTo>
                <a:lnTo>
                  <a:pt x="3011329" y="2089308"/>
                </a:lnTo>
                <a:lnTo>
                  <a:pt x="3011329" y="1774317"/>
                </a:lnTo>
                <a:lnTo>
                  <a:pt x="2963704" y="1711642"/>
                </a:lnTo>
                <a:lnTo>
                  <a:pt x="2938748" y="1711642"/>
                </a:lnTo>
                <a:lnTo>
                  <a:pt x="2787396" y="2008251"/>
                </a:lnTo>
                <a:lnTo>
                  <a:pt x="1243489" y="2007203"/>
                </a:lnTo>
                <a:lnTo>
                  <a:pt x="1170908" y="2068544"/>
                </a:lnTo>
                <a:lnTo>
                  <a:pt x="1086993" y="2069973"/>
                </a:lnTo>
                <a:lnTo>
                  <a:pt x="1034606" y="2000631"/>
                </a:lnTo>
                <a:lnTo>
                  <a:pt x="1029367" y="1750028"/>
                </a:lnTo>
                <a:lnTo>
                  <a:pt x="1293400" y="1249299"/>
                </a:lnTo>
                <a:lnTo>
                  <a:pt x="1548194" y="1249299"/>
                </a:lnTo>
                <a:lnTo>
                  <a:pt x="1717929" y="1565815"/>
                </a:lnTo>
                <a:lnTo>
                  <a:pt x="2408301" y="1565815"/>
                </a:lnTo>
                <a:lnTo>
                  <a:pt x="2596706" y="1235488"/>
                </a:lnTo>
                <a:lnTo>
                  <a:pt x="3206306" y="1238821"/>
                </a:lnTo>
                <a:lnTo>
                  <a:pt x="3454908" y="1603724"/>
                </a:lnTo>
                <a:lnTo>
                  <a:pt x="3444145" y="1890617"/>
                </a:lnTo>
                <a:lnTo>
                  <a:pt x="3714750" y="2334101"/>
                </a:lnTo>
                <a:lnTo>
                  <a:pt x="4231672" y="2336006"/>
                </a:lnTo>
                <a:lnTo>
                  <a:pt x="4025741" y="2683478"/>
                </a:lnTo>
                <a:lnTo>
                  <a:pt x="3736562" y="2684621"/>
                </a:lnTo>
                <a:lnTo>
                  <a:pt x="3531775" y="3028569"/>
                </a:lnTo>
                <a:lnTo>
                  <a:pt x="3528727" y="3475291"/>
                </a:lnTo>
                <a:lnTo>
                  <a:pt x="3169920" y="4049268"/>
                </a:lnTo>
                <a:lnTo>
                  <a:pt x="3169920" y="4234148"/>
                </a:lnTo>
                <a:lnTo>
                  <a:pt x="3056763" y="4421124"/>
                </a:lnTo>
                <a:lnTo>
                  <a:pt x="2914650" y="4421124"/>
                </a:lnTo>
                <a:lnTo>
                  <a:pt x="2746724" y="4202049"/>
                </a:lnTo>
                <a:lnTo>
                  <a:pt x="2746724" y="3940778"/>
                </a:lnTo>
                <a:lnTo>
                  <a:pt x="2494217" y="3518440"/>
                </a:lnTo>
                <a:lnTo>
                  <a:pt x="2494217" y="3271361"/>
                </a:lnTo>
                <a:lnTo>
                  <a:pt x="2353532" y="3029902"/>
                </a:lnTo>
                <a:lnTo>
                  <a:pt x="2353532" y="2622994"/>
                </a:lnTo>
                <a:lnTo>
                  <a:pt x="2177320" y="2302478"/>
                </a:lnTo>
                <a:lnTo>
                  <a:pt x="1388269" y="2302478"/>
                </a:lnTo>
                <a:lnTo>
                  <a:pt x="1284827" y="2437733"/>
                </a:lnTo>
                <a:lnTo>
                  <a:pt x="997744" y="2437733"/>
                </a:lnTo>
                <a:lnTo>
                  <a:pt x="752475" y="2083403"/>
                </a:lnTo>
                <a:lnTo>
                  <a:pt x="742950" y="1645253"/>
                </a:lnTo>
                <a:lnTo>
                  <a:pt x="1129475" y="960501"/>
                </a:lnTo>
                <a:lnTo>
                  <a:pt x="1679639" y="960501"/>
                </a:lnTo>
                <a:lnTo>
                  <a:pt x="1882521" y="1307306"/>
                </a:lnTo>
                <a:lnTo>
                  <a:pt x="2262569" y="1307306"/>
                </a:lnTo>
                <a:lnTo>
                  <a:pt x="2447354" y="970026"/>
                </a:lnTo>
                <a:lnTo>
                  <a:pt x="3316034" y="970026"/>
                </a:lnTo>
                <a:lnTo>
                  <a:pt x="3704082" y="1506474"/>
                </a:lnTo>
                <a:lnTo>
                  <a:pt x="3704082" y="1831943"/>
                </a:lnTo>
                <a:lnTo>
                  <a:pt x="3863054" y="2105120"/>
                </a:lnTo>
                <a:lnTo>
                  <a:pt x="4637056" y="2105120"/>
                </a:lnTo>
                <a:lnTo>
                  <a:pt x="4174331" y="2914745"/>
                </a:lnTo>
                <a:lnTo>
                  <a:pt x="3947160" y="2912078"/>
                </a:lnTo>
                <a:lnTo>
                  <a:pt x="3796570" y="3150203"/>
                </a:lnTo>
                <a:lnTo>
                  <a:pt x="3796570" y="3555968"/>
                </a:lnTo>
                <a:lnTo>
                  <a:pt x="3410522" y="4160806"/>
                </a:lnTo>
                <a:lnTo>
                  <a:pt x="3410522" y="4377023"/>
                </a:lnTo>
                <a:lnTo>
                  <a:pt x="3202781" y="4722590"/>
                </a:lnTo>
                <a:lnTo>
                  <a:pt x="2772823" y="4719923"/>
                </a:lnTo>
                <a:lnTo>
                  <a:pt x="2463070" y="4355306"/>
                </a:lnTo>
                <a:lnTo>
                  <a:pt x="2463070" y="4005548"/>
                </a:lnTo>
                <a:lnTo>
                  <a:pt x="2227326" y="3576923"/>
                </a:lnTo>
                <a:lnTo>
                  <a:pt x="2228088" y="3318986"/>
                </a:lnTo>
                <a:lnTo>
                  <a:pt x="2087880" y="3074956"/>
                </a:lnTo>
                <a:lnTo>
                  <a:pt x="2087880" y="2679668"/>
                </a:lnTo>
                <a:lnTo>
                  <a:pt x="2047970" y="2608231"/>
                </a:lnTo>
                <a:lnTo>
                  <a:pt x="1494282" y="2608231"/>
                </a:lnTo>
                <a:lnTo>
                  <a:pt x="1432179" y="2715768"/>
                </a:lnTo>
                <a:lnTo>
                  <a:pt x="835724" y="2715768"/>
                </a:lnTo>
                <a:lnTo>
                  <a:pt x="484442" y="2170081"/>
                </a:lnTo>
                <a:lnTo>
                  <a:pt x="484442" y="1552384"/>
                </a:lnTo>
                <a:lnTo>
                  <a:pt x="997077" y="691420"/>
                </a:lnTo>
                <a:lnTo>
                  <a:pt x="1845850" y="691420"/>
                </a:lnTo>
                <a:lnTo>
                  <a:pt x="2021967" y="981837"/>
                </a:lnTo>
                <a:lnTo>
                  <a:pt x="2123408" y="981170"/>
                </a:lnTo>
                <a:lnTo>
                  <a:pt x="2282476" y="691420"/>
                </a:lnTo>
                <a:lnTo>
                  <a:pt x="7313962" y="691420"/>
                </a:lnTo>
                <a:close/>
              </a:path>
            </a:pathLst>
          </a:custGeom>
          <a:solidFill>
            <a:schemeClr val="tx1">
              <a:alpha val="59499"/>
            </a:schemeClr>
          </a:solidFill>
          <a:ln w="9525" cap="flat">
            <a:noFill/>
            <a:prstDash val="solid"/>
            <a:miter/>
          </a:ln>
        </p:spPr>
        <p:txBody>
          <a:bodyPr rtlCol="0" anchor="ctr"/>
          <a:lstStyle/>
          <a:p>
            <a:endParaRPr lang="en-US"/>
          </a:p>
        </p:txBody>
      </p:sp>
      <p:sp>
        <p:nvSpPr>
          <p:cNvPr id="169" name="Title 520">
            <a:extLst>
              <a:ext uri="{FF2B5EF4-FFF2-40B4-BE49-F238E27FC236}">
                <a16:creationId xmlns:a16="http://schemas.microsoft.com/office/drawing/2014/main" id="{5B4F7F9B-D2FA-5CC1-9CAE-52E03FB090E2}"/>
              </a:ext>
            </a:extLst>
          </p:cNvPr>
          <p:cNvSpPr>
            <a:spLocks noGrp="1"/>
          </p:cNvSpPr>
          <p:nvPr>
            <p:ph type="title"/>
          </p:nvPr>
        </p:nvSpPr>
        <p:spPr/>
        <p:txBody>
          <a:bodyPr/>
          <a:lstStyle/>
          <a:p>
            <a:pPr algn="r"/>
            <a:r>
              <a:rPr lang="en-US" sz="4000" dirty="0">
                <a:solidFill>
                  <a:schemeClr val="bg1"/>
                </a:solidFill>
              </a:rPr>
              <a:t>Thank you</a:t>
            </a:r>
            <a:br>
              <a:rPr lang="en-US" sz="4000" dirty="0">
                <a:solidFill>
                  <a:schemeClr val="bg1"/>
                </a:solidFill>
              </a:rPr>
            </a:br>
            <a:endParaRPr lang="en-US" sz="4000" dirty="0"/>
          </a:p>
        </p:txBody>
      </p:sp>
      <p:grpSp>
        <p:nvGrpSpPr>
          <p:cNvPr id="170" name="Group 169">
            <a:extLst>
              <a:ext uri="{FF2B5EF4-FFF2-40B4-BE49-F238E27FC236}">
                <a16:creationId xmlns:a16="http://schemas.microsoft.com/office/drawing/2014/main" id="{186CB910-7EB6-DA28-6C7E-C2A393051A75}"/>
              </a:ext>
            </a:extLst>
          </p:cNvPr>
          <p:cNvGrpSpPr/>
          <p:nvPr/>
        </p:nvGrpSpPr>
        <p:grpSpPr>
          <a:xfrm>
            <a:off x="10366157" y="571622"/>
            <a:ext cx="1394705" cy="948396"/>
            <a:chOff x="10366157" y="302263"/>
            <a:chExt cx="1394705" cy="948396"/>
          </a:xfrm>
        </p:grpSpPr>
        <p:sp>
          <p:nvSpPr>
            <p:cNvPr id="171" name="object 28">
              <a:extLst>
                <a:ext uri="{FF2B5EF4-FFF2-40B4-BE49-F238E27FC236}">
                  <a16:creationId xmlns:a16="http://schemas.microsoft.com/office/drawing/2014/main" id="{C4275BAE-D3F8-2B1B-5B74-B57C95E8A424}"/>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2" name="object 29">
              <a:extLst>
                <a:ext uri="{FF2B5EF4-FFF2-40B4-BE49-F238E27FC236}">
                  <a16:creationId xmlns:a16="http://schemas.microsoft.com/office/drawing/2014/main" id="{89ABC2F3-BE30-EAB2-AC94-08EC471D47ED}"/>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173" name="object 30">
              <a:extLst>
                <a:ext uri="{FF2B5EF4-FFF2-40B4-BE49-F238E27FC236}">
                  <a16:creationId xmlns:a16="http://schemas.microsoft.com/office/drawing/2014/main" id="{47796B55-483E-551F-F4E8-62C119887CCA}"/>
                </a:ext>
              </a:extLst>
            </p:cNvPr>
            <p:cNvGrpSpPr/>
            <p:nvPr/>
          </p:nvGrpSpPr>
          <p:grpSpPr>
            <a:xfrm>
              <a:off x="10674915" y="302263"/>
              <a:ext cx="1085947" cy="122368"/>
              <a:chOff x="-1" y="-1"/>
              <a:chExt cx="1085945" cy="122366"/>
            </a:xfrm>
          </p:grpSpPr>
          <p:sp>
            <p:nvSpPr>
              <p:cNvPr id="174" name="Shape">
                <a:extLst>
                  <a:ext uri="{FF2B5EF4-FFF2-40B4-BE49-F238E27FC236}">
                    <a16:creationId xmlns:a16="http://schemas.microsoft.com/office/drawing/2014/main" id="{366D1129-9C0A-EEDF-B00E-73BF8B73B2CC}"/>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5" name="Shape">
                <a:extLst>
                  <a:ext uri="{FF2B5EF4-FFF2-40B4-BE49-F238E27FC236}">
                    <a16:creationId xmlns:a16="http://schemas.microsoft.com/office/drawing/2014/main" id="{AEBD4148-9FFD-8C63-B6B7-40C63E6382A2}"/>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6" name="Shape">
                <a:extLst>
                  <a:ext uri="{FF2B5EF4-FFF2-40B4-BE49-F238E27FC236}">
                    <a16:creationId xmlns:a16="http://schemas.microsoft.com/office/drawing/2014/main" id="{5D340E34-4B98-B39A-0427-7DAF81556734}"/>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7" name="Shape">
                <a:extLst>
                  <a:ext uri="{FF2B5EF4-FFF2-40B4-BE49-F238E27FC236}">
                    <a16:creationId xmlns:a16="http://schemas.microsoft.com/office/drawing/2014/main" id="{D49EFE32-4989-6E0F-077E-1621CC1CF63E}"/>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8" name="Shape">
                <a:extLst>
                  <a:ext uri="{FF2B5EF4-FFF2-40B4-BE49-F238E27FC236}">
                    <a16:creationId xmlns:a16="http://schemas.microsoft.com/office/drawing/2014/main" id="{6650A60D-6476-C84B-08D3-B37EDB2F695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9" name="Shape">
                <a:extLst>
                  <a:ext uri="{FF2B5EF4-FFF2-40B4-BE49-F238E27FC236}">
                    <a16:creationId xmlns:a16="http://schemas.microsoft.com/office/drawing/2014/main" id="{1E154D22-53C0-EA63-1655-A1FF7D6544BE}"/>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0" name="Shape">
                <a:extLst>
                  <a:ext uri="{FF2B5EF4-FFF2-40B4-BE49-F238E27FC236}">
                    <a16:creationId xmlns:a16="http://schemas.microsoft.com/office/drawing/2014/main" id="{3453F9CF-22AD-6A75-55D2-CB224D3F4757}"/>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1" name="Shape">
                <a:extLst>
                  <a:ext uri="{FF2B5EF4-FFF2-40B4-BE49-F238E27FC236}">
                    <a16:creationId xmlns:a16="http://schemas.microsoft.com/office/drawing/2014/main" id="{01473887-0E14-7E3E-8D9C-4DFBE4DF213C}"/>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2" name="Shape">
                <a:extLst>
                  <a:ext uri="{FF2B5EF4-FFF2-40B4-BE49-F238E27FC236}">
                    <a16:creationId xmlns:a16="http://schemas.microsoft.com/office/drawing/2014/main" id="{674A7423-39E8-4EF4-A9FB-75AF935F1C4F}"/>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3" name="Shape">
                <a:extLst>
                  <a:ext uri="{FF2B5EF4-FFF2-40B4-BE49-F238E27FC236}">
                    <a16:creationId xmlns:a16="http://schemas.microsoft.com/office/drawing/2014/main" id="{71AB49AC-44E5-185C-A43E-EE1E78ECD536}"/>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4" name="Shape">
                <a:extLst>
                  <a:ext uri="{FF2B5EF4-FFF2-40B4-BE49-F238E27FC236}">
                    <a16:creationId xmlns:a16="http://schemas.microsoft.com/office/drawing/2014/main" id="{3708BE2F-C28B-351D-65E9-E4754DEB6D19}"/>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5" name="Rectangle">
                <a:extLst>
                  <a:ext uri="{FF2B5EF4-FFF2-40B4-BE49-F238E27FC236}">
                    <a16:creationId xmlns:a16="http://schemas.microsoft.com/office/drawing/2014/main" id="{27F7D522-F49A-5DB4-C86B-3BF660B21E82}"/>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6" name="Rectangle">
                <a:extLst>
                  <a:ext uri="{FF2B5EF4-FFF2-40B4-BE49-F238E27FC236}">
                    <a16:creationId xmlns:a16="http://schemas.microsoft.com/office/drawing/2014/main" id="{10679318-F1CF-7ED8-8124-084F830834E3}"/>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7" name="Shape">
                <a:extLst>
                  <a:ext uri="{FF2B5EF4-FFF2-40B4-BE49-F238E27FC236}">
                    <a16:creationId xmlns:a16="http://schemas.microsoft.com/office/drawing/2014/main" id="{963FF9CE-FC4B-D96E-5C71-988F250D7AB4}"/>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8" name="Shape">
                <a:extLst>
                  <a:ext uri="{FF2B5EF4-FFF2-40B4-BE49-F238E27FC236}">
                    <a16:creationId xmlns:a16="http://schemas.microsoft.com/office/drawing/2014/main" id="{C2C5E71D-B444-4595-8E80-CE961926456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9" name="Shape">
                <a:extLst>
                  <a:ext uri="{FF2B5EF4-FFF2-40B4-BE49-F238E27FC236}">
                    <a16:creationId xmlns:a16="http://schemas.microsoft.com/office/drawing/2014/main" id="{F7F75ED6-885C-5C05-E5A9-029BEF963CA1}"/>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90" name="Rectangle">
                <a:extLst>
                  <a:ext uri="{FF2B5EF4-FFF2-40B4-BE49-F238E27FC236}">
                    <a16:creationId xmlns:a16="http://schemas.microsoft.com/office/drawing/2014/main" id="{E740D3ED-185F-386B-76BA-255A047797F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grpSp>
    </p:spTree>
    <p:extLst>
      <p:ext uri="{BB962C8B-B14F-4D97-AF65-F5344CB8AC3E}">
        <p14:creationId xmlns:p14="http://schemas.microsoft.com/office/powerpoint/2010/main" val="42505485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8C7DF0D-CF3D-BC6E-2657-3E6DE238EA93}"/>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US" dirty="0">
              <a:latin typeface="+mj-lt"/>
            </a:endParaRPr>
          </a:p>
        </p:txBody>
      </p:sp>
      <p:sp>
        <p:nvSpPr>
          <p:cNvPr id="19" name="Title 18">
            <a:extLst>
              <a:ext uri="{FF2B5EF4-FFF2-40B4-BE49-F238E27FC236}">
                <a16:creationId xmlns:a16="http://schemas.microsoft.com/office/drawing/2014/main" id="{5A7DDE8A-B245-7F8D-DA6F-32478A5A14BA}"/>
              </a:ext>
            </a:extLst>
          </p:cNvPr>
          <p:cNvSpPr>
            <a:spLocks noGrp="1"/>
          </p:cNvSpPr>
          <p:nvPr>
            <p:ph type="title"/>
          </p:nvPr>
        </p:nvSpPr>
        <p:spPr>
          <a:xfrm>
            <a:off x="283474" y="143397"/>
            <a:ext cx="10079725" cy="400110"/>
          </a:xfrm>
        </p:spPr>
        <p:txBody>
          <a:bodyPr/>
          <a:lstStyle/>
          <a:p>
            <a:r>
              <a:rPr lang="en-US" sz="2000" dirty="0">
                <a:latin typeface="+mn-lt"/>
              </a:rPr>
              <a:t>Business Background</a:t>
            </a:r>
          </a:p>
        </p:txBody>
      </p:sp>
      <p:sp>
        <p:nvSpPr>
          <p:cNvPr id="9" name="TextBox 8">
            <a:extLst>
              <a:ext uri="{FF2B5EF4-FFF2-40B4-BE49-F238E27FC236}">
                <a16:creationId xmlns:a16="http://schemas.microsoft.com/office/drawing/2014/main" id="{492F722D-C310-51D8-FBD5-0E0D8875B37A}"/>
              </a:ext>
            </a:extLst>
          </p:cNvPr>
          <p:cNvSpPr txBox="1"/>
          <p:nvPr/>
        </p:nvSpPr>
        <p:spPr>
          <a:xfrm>
            <a:off x="216251" y="1059120"/>
            <a:ext cx="10214169" cy="4832092"/>
          </a:xfrm>
          <a:prstGeom prst="rect">
            <a:avLst/>
          </a:prstGeom>
          <a:noFill/>
        </p:spPr>
        <p:txBody>
          <a:bodyPr wrap="square">
            <a:spAutoFit/>
          </a:bodyPr>
          <a:lstStyle/>
          <a:p>
            <a:r>
              <a:rPr lang="en-ZA" sz="1400" dirty="0"/>
              <a:t>Transnet Port Terminals (TPT) is a division of Transnet SOC Limited, a state-owned freight transport company in South Africa. TPT's core business is the handling of a variety of products that are destined for either import, export, or transhipment. TPT operates bulk, break bulk, automotive, and container terminals, located nationwide in the KwaZulu-Natal, Eastern Cape, and Western Cape ports. TPT also operates inland terminals located in the North West, Western Cape and Mpumalanga. The mobile equipment within the terminals is highly dependent on fuel for business operations. Diesel is the primarily used fuel for operations and the fleet comprises of the following mobile equipment:</a:t>
            </a:r>
          </a:p>
          <a:p>
            <a:endParaRPr lang="en-ZA" sz="1400" dirty="0"/>
          </a:p>
          <a:p>
            <a:pPr marL="628650" lvl="1" indent="-171450">
              <a:buFont typeface="Arial" panose="020B0604020202020204" pitchFamily="34" charset="0"/>
              <a:buChar char="•"/>
            </a:pPr>
            <a:r>
              <a:rPr lang="en-ZA" sz="1400" dirty="0" err="1"/>
              <a:t>i</a:t>
            </a:r>
            <a:r>
              <a:rPr lang="en-ZA" sz="1400" dirty="0"/>
              <a:t>.	Rubber-Tyred Gantry Cranes (RTGs)</a:t>
            </a:r>
          </a:p>
          <a:p>
            <a:pPr marL="628650" lvl="1" indent="-171450">
              <a:buFont typeface="Arial" panose="020B0604020202020204" pitchFamily="34" charset="0"/>
              <a:buChar char="•"/>
            </a:pPr>
            <a:r>
              <a:rPr lang="en-ZA" sz="1400" dirty="0"/>
              <a:t>ii.	Mobile Harbour Cranes (MHCs)</a:t>
            </a:r>
          </a:p>
          <a:p>
            <a:pPr marL="628650" lvl="1" indent="-171450">
              <a:buFont typeface="Arial" panose="020B0604020202020204" pitchFamily="34" charset="0"/>
              <a:buChar char="•"/>
            </a:pPr>
            <a:r>
              <a:rPr lang="en-ZA" sz="1400" dirty="0"/>
              <a:t>iii.	Empty Container Handlers (ECHs)</a:t>
            </a:r>
          </a:p>
          <a:p>
            <a:pPr marL="628650" lvl="1" indent="-171450">
              <a:buFont typeface="Arial" panose="020B0604020202020204" pitchFamily="34" charset="0"/>
              <a:buChar char="•"/>
            </a:pPr>
            <a:r>
              <a:rPr lang="en-ZA" sz="1400" dirty="0"/>
              <a:t>iv.	Mobile Ship Loaders</a:t>
            </a:r>
          </a:p>
          <a:p>
            <a:pPr marL="628650" lvl="1" indent="-171450">
              <a:buFont typeface="Arial" panose="020B0604020202020204" pitchFamily="34" charset="0"/>
              <a:buChar char="•"/>
            </a:pPr>
            <a:r>
              <a:rPr lang="en-ZA" sz="1400" dirty="0"/>
              <a:t>v.	Mobile Bowsers</a:t>
            </a:r>
          </a:p>
          <a:p>
            <a:pPr marL="628650" lvl="1" indent="-171450">
              <a:buFont typeface="Arial" panose="020B0604020202020204" pitchFamily="34" charset="0"/>
              <a:buChar char="•"/>
            </a:pPr>
            <a:r>
              <a:rPr lang="en-ZA" sz="1400" dirty="0"/>
              <a:t>vi.	Straddle Carriers</a:t>
            </a:r>
          </a:p>
          <a:p>
            <a:pPr marL="628650" lvl="1" indent="-171450">
              <a:buFont typeface="Arial" panose="020B0604020202020204" pitchFamily="34" charset="0"/>
              <a:buChar char="•"/>
            </a:pPr>
            <a:r>
              <a:rPr lang="en-ZA" sz="1400" dirty="0"/>
              <a:t>vii.	Reach Stackers</a:t>
            </a:r>
          </a:p>
          <a:p>
            <a:pPr marL="628650" lvl="1" indent="-171450">
              <a:buFont typeface="Arial" panose="020B0604020202020204" pitchFamily="34" charset="0"/>
              <a:buChar char="•"/>
            </a:pPr>
            <a:r>
              <a:rPr lang="en-ZA" sz="1400" dirty="0"/>
              <a:t>viii.	Forklifts</a:t>
            </a:r>
          </a:p>
          <a:p>
            <a:pPr marL="628650" lvl="1" indent="-171450">
              <a:buFont typeface="Arial" panose="020B0604020202020204" pitchFamily="34" charset="0"/>
              <a:buChar char="•"/>
            </a:pPr>
            <a:r>
              <a:rPr lang="en-ZA" sz="1400" dirty="0"/>
              <a:t>ix.	Tractors</a:t>
            </a:r>
          </a:p>
          <a:p>
            <a:pPr marL="628650" lvl="1" indent="-171450">
              <a:buFont typeface="Arial" panose="020B0604020202020204" pitchFamily="34" charset="0"/>
              <a:buChar char="•"/>
            </a:pPr>
            <a:r>
              <a:rPr lang="en-ZA" sz="1400" dirty="0"/>
              <a:t>x.	Haulers</a:t>
            </a:r>
          </a:p>
          <a:p>
            <a:pPr marL="628650" lvl="1" indent="-171450">
              <a:buFont typeface="Arial" panose="020B0604020202020204" pitchFamily="34" charset="0"/>
              <a:buChar char="•"/>
            </a:pPr>
            <a:r>
              <a:rPr lang="en-ZA" sz="1400" dirty="0"/>
              <a:t>xi.	Sky jacks</a:t>
            </a:r>
          </a:p>
          <a:p>
            <a:pPr marL="628650" lvl="1" indent="-171450">
              <a:buFont typeface="Arial" panose="020B0604020202020204" pitchFamily="34" charset="0"/>
              <a:buChar char="•"/>
            </a:pPr>
            <a:r>
              <a:rPr lang="en-ZA" sz="1400" dirty="0"/>
              <a:t>xii.	</a:t>
            </a:r>
            <a:r>
              <a:rPr lang="en-ZA" sz="1400" dirty="0" err="1"/>
              <a:t>BobCats</a:t>
            </a:r>
            <a:endParaRPr lang="en-ZA" sz="1400" dirty="0"/>
          </a:p>
          <a:p>
            <a:pPr marL="628650" lvl="1" indent="-171450">
              <a:buFont typeface="Arial" panose="020B0604020202020204" pitchFamily="34" charset="0"/>
              <a:buChar char="•"/>
            </a:pPr>
            <a:r>
              <a:rPr lang="en-ZA" sz="1400" dirty="0"/>
              <a:t>xiii.	Cherry pickers</a:t>
            </a:r>
          </a:p>
          <a:p>
            <a:pPr marL="628650" lvl="1" indent="-171450">
              <a:buFont typeface="Arial" panose="020B0604020202020204" pitchFamily="34" charset="0"/>
              <a:buChar char="•"/>
            </a:pPr>
            <a:r>
              <a:rPr lang="en-ZA" sz="1400" dirty="0"/>
              <a:t>xiv.	Sweepers</a:t>
            </a:r>
          </a:p>
          <a:p>
            <a:pPr marL="628650" lvl="1" indent="-171450">
              <a:buFont typeface="Arial" panose="020B0604020202020204" pitchFamily="34" charset="0"/>
              <a:buChar char="•"/>
            </a:pPr>
            <a:r>
              <a:rPr lang="en-ZA" sz="1400" dirty="0"/>
              <a:t>xv.	Self-Bunded Containerized Tanks</a:t>
            </a:r>
          </a:p>
        </p:txBody>
      </p:sp>
    </p:spTree>
    <p:extLst>
      <p:ext uri="{BB962C8B-B14F-4D97-AF65-F5344CB8AC3E}">
        <p14:creationId xmlns:p14="http://schemas.microsoft.com/office/powerpoint/2010/main" val="15255254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9DFEE-EBAE-D87B-480C-C28D03E675F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C747479-8572-35CE-81F1-2E92B2F5C438}"/>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US" dirty="0">
              <a:latin typeface="+mj-lt"/>
            </a:endParaRPr>
          </a:p>
        </p:txBody>
      </p:sp>
      <p:sp>
        <p:nvSpPr>
          <p:cNvPr id="19" name="Title 18">
            <a:extLst>
              <a:ext uri="{FF2B5EF4-FFF2-40B4-BE49-F238E27FC236}">
                <a16:creationId xmlns:a16="http://schemas.microsoft.com/office/drawing/2014/main" id="{AB12E23F-9B98-DBF0-79A5-33AC43C2B391}"/>
              </a:ext>
            </a:extLst>
          </p:cNvPr>
          <p:cNvSpPr>
            <a:spLocks noGrp="1"/>
          </p:cNvSpPr>
          <p:nvPr>
            <p:ph type="title"/>
          </p:nvPr>
        </p:nvSpPr>
        <p:spPr>
          <a:xfrm>
            <a:off x="283474" y="143397"/>
            <a:ext cx="10079725" cy="400110"/>
          </a:xfrm>
        </p:spPr>
        <p:txBody>
          <a:bodyPr/>
          <a:lstStyle/>
          <a:p>
            <a:r>
              <a:rPr lang="en-US" sz="2000" dirty="0">
                <a:latin typeface="+mn-lt"/>
              </a:rPr>
              <a:t>Project Background</a:t>
            </a:r>
          </a:p>
        </p:txBody>
      </p:sp>
      <p:sp>
        <p:nvSpPr>
          <p:cNvPr id="8" name="TextBox 7">
            <a:extLst>
              <a:ext uri="{FF2B5EF4-FFF2-40B4-BE49-F238E27FC236}">
                <a16:creationId xmlns:a16="http://schemas.microsoft.com/office/drawing/2014/main" id="{EC3FDB44-3BB1-4C57-4594-6427C3BD22F6}"/>
              </a:ext>
            </a:extLst>
          </p:cNvPr>
          <p:cNvSpPr txBox="1"/>
          <p:nvPr/>
        </p:nvSpPr>
        <p:spPr>
          <a:xfrm>
            <a:off x="176677" y="649352"/>
            <a:ext cx="10583472" cy="6512552"/>
          </a:xfrm>
          <a:prstGeom prst="rect">
            <a:avLst/>
          </a:prstGeom>
          <a:noFill/>
        </p:spPr>
        <p:txBody>
          <a:bodyPr wrap="square">
            <a:spAutoFit/>
          </a:bodyPr>
          <a:lstStyle/>
          <a:p>
            <a:endParaRPr lang="en-US" sz="1400" dirty="0"/>
          </a:p>
          <a:p>
            <a:r>
              <a:rPr lang="en-US" sz="1400" b="1" dirty="0"/>
              <a:t>TPT currently </a:t>
            </a:r>
            <a:r>
              <a:rPr lang="en-US" sz="1400" b="1" dirty="0">
                <a:solidFill>
                  <a:schemeClr val="accent1">
                    <a:lumMod val="75000"/>
                  </a:schemeClr>
                </a:solidFill>
              </a:rPr>
              <a:t>uses manual processes and controls </a:t>
            </a:r>
            <a:r>
              <a:rPr lang="en-US" sz="1400" b="1" dirty="0"/>
              <a:t>at its fuel facilities, which places the business at risk of:</a:t>
            </a:r>
          </a:p>
          <a:p>
            <a:endParaRPr lang="en-US" sz="1400" dirty="0"/>
          </a:p>
          <a:p>
            <a:pPr marL="742950" lvl="1" indent="-285750">
              <a:buFont typeface="Arial" panose="020B0604020202020204" pitchFamily="34" charset="0"/>
              <a:buChar char="•"/>
            </a:pPr>
            <a:r>
              <a:rPr lang="en-US" sz="1400" dirty="0"/>
              <a:t>inadequate fuel inventory management</a:t>
            </a:r>
          </a:p>
          <a:p>
            <a:pPr marL="742950" lvl="1" indent="-285750">
              <a:buFont typeface="Arial" panose="020B0604020202020204" pitchFamily="34" charset="0"/>
              <a:buChar char="•"/>
            </a:pPr>
            <a:r>
              <a:rPr lang="en-US" sz="1400" dirty="0"/>
              <a:t>inadequate fuel movement tracking and fuel consumption monitoring</a:t>
            </a:r>
          </a:p>
          <a:p>
            <a:pPr marL="742950" lvl="1" indent="-285750">
              <a:buFont typeface="Arial" panose="020B0604020202020204" pitchFamily="34" charset="0"/>
              <a:buChar char="•"/>
            </a:pPr>
            <a:r>
              <a:rPr lang="en-US" sz="1400" dirty="0"/>
              <a:t>fuel pilferage from its bulk storage tanks, mobile bowsers, mobile equipment and self-bunded containerized tanks</a:t>
            </a:r>
          </a:p>
          <a:p>
            <a:pPr marL="742950" lvl="1" indent="-285750">
              <a:buFont typeface="Arial" panose="020B0604020202020204" pitchFamily="34" charset="0"/>
              <a:buChar char="•"/>
            </a:pPr>
            <a:r>
              <a:rPr lang="en-US" sz="1400" dirty="0"/>
              <a:t>being unable to prevent unauthorized fuel dispensing into unauthorized equipment</a:t>
            </a:r>
          </a:p>
          <a:p>
            <a:pPr marR="0" lvl="0" algn="l" defTabSz="779173" rtl="0" eaLnBrk="1" fontAlgn="auto" latinLnBrk="0" hangingPunct="1">
              <a:lnSpc>
                <a:spcPct val="150000"/>
              </a:lnSpc>
              <a:spcBef>
                <a:spcPct val="0"/>
              </a:spcBef>
              <a:spcAft>
                <a:spcPts val="0"/>
              </a:spcAft>
              <a:buClrTx/>
              <a:buSzTx/>
              <a:tabLst/>
              <a:defRPr/>
            </a:pPr>
            <a:endParaRPr lang="en-US" sz="1400" b="1" noProof="0" dirty="0"/>
          </a:p>
          <a:p>
            <a:pPr marR="0" lvl="0" algn="l" defTabSz="779173" rtl="0" eaLnBrk="1" fontAlgn="auto" latinLnBrk="0" hangingPunct="1">
              <a:lnSpc>
                <a:spcPct val="150000"/>
              </a:lnSpc>
              <a:spcBef>
                <a:spcPct val="0"/>
              </a:spcBef>
              <a:spcAft>
                <a:spcPts val="0"/>
              </a:spcAft>
              <a:buClrTx/>
              <a:buSzTx/>
              <a:tabLst/>
              <a:defRPr/>
            </a:pPr>
            <a:r>
              <a:rPr kumimoji="0" lang="en-US" sz="1400" b="1" i="0" u="none" strike="noStrike" kern="1200" cap="none" spc="0" normalizeH="0" baseline="0" noProof="0" dirty="0">
                <a:ln>
                  <a:noFill/>
                </a:ln>
                <a:effectLst/>
                <a:uLnTx/>
                <a:uFillTx/>
                <a:cs typeface="+mj-cs"/>
              </a:rPr>
              <a:t>The Fuel Management System (FMS) is intended </a:t>
            </a:r>
            <a:r>
              <a:rPr lang="en-US" sz="1400" b="1" dirty="0">
                <a:cs typeface="+mj-cs"/>
              </a:rPr>
              <a:t>to </a:t>
            </a:r>
            <a:r>
              <a:rPr kumimoji="0" lang="en-US" sz="1400" b="1" i="0" u="none" strike="noStrike" kern="1200" cap="none" spc="0" normalizeH="0" baseline="0" noProof="0" dirty="0">
                <a:ln>
                  <a:noFill/>
                </a:ln>
                <a:effectLst/>
                <a:uLnTx/>
                <a:uFillTx/>
                <a:cs typeface="+mj-cs"/>
              </a:rPr>
              <a:t>address the following problems:</a:t>
            </a:r>
          </a:p>
          <a:p>
            <a:pPr marL="800100" lvl="1" indent="-342900">
              <a:spcBef>
                <a:spcPts val="795"/>
              </a:spcBef>
              <a:buSzPts val="1100"/>
              <a:buFont typeface="Arial" panose="020B0604020202020204" pitchFamily="34" charset="0"/>
              <a:buChar char="•"/>
              <a:tabLst>
                <a:tab pos="574675" algn="l"/>
              </a:tabLst>
            </a:pPr>
            <a:r>
              <a:rPr lang="en-ZA" sz="1400" u="sng" spc="-5" dirty="0">
                <a:effectLst/>
                <a:ea typeface="Calibri" panose="020F0502020204030204" pitchFamily="34" charset="0"/>
              </a:rPr>
              <a:t>Inadequate</a:t>
            </a:r>
            <a:r>
              <a:rPr lang="en-ZA" sz="1400" u="sng" spc="-25" dirty="0">
                <a:effectLst/>
                <a:ea typeface="Calibri" panose="020F0502020204030204" pitchFamily="34" charset="0"/>
              </a:rPr>
              <a:t> </a:t>
            </a:r>
            <a:r>
              <a:rPr lang="en-ZA" sz="1400" u="sng" spc="-5" dirty="0">
                <a:effectLst/>
                <a:ea typeface="Calibri" panose="020F0502020204030204" pitchFamily="34" charset="0"/>
              </a:rPr>
              <a:t>fuel</a:t>
            </a:r>
            <a:r>
              <a:rPr lang="en-ZA" sz="1400" u="sng" spc="-20" dirty="0">
                <a:effectLst/>
                <a:ea typeface="Calibri" panose="020F0502020204030204" pitchFamily="34" charset="0"/>
              </a:rPr>
              <a:t> </a:t>
            </a:r>
            <a:r>
              <a:rPr lang="en-ZA" sz="1400" u="sng" spc="-10" dirty="0">
                <a:effectLst/>
                <a:ea typeface="Calibri" panose="020F0502020204030204" pitchFamily="34" charset="0"/>
              </a:rPr>
              <a:t>issuing &amp; fuel dispensing management</a:t>
            </a:r>
            <a:endParaRPr lang="en-ZA" sz="1400" u="sng" spc="-5" dirty="0">
              <a:ea typeface="Calibri" panose="020F0502020204030204" pitchFamily="34" charset="0"/>
            </a:endParaRPr>
          </a:p>
          <a:p>
            <a:pPr lvl="0">
              <a:spcBef>
                <a:spcPts val="795"/>
              </a:spcBef>
              <a:buSzPts val="1100"/>
              <a:tabLst>
                <a:tab pos="574675" algn="l"/>
              </a:tabLst>
            </a:pPr>
            <a:r>
              <a:rPr lang="en-ZA" sz="1400" dirty="0">
                <a:effectLst/>
                <a:ea typeface="Calibri" panose="020F0502020204030204" pitchFamily="34" charset="0"/>
              </a:rPr>
              <a:t>	    Poor</a:t>
            </a:r>
            <a:r>
              <a:rPr lang="en-ZA" sz="1400" spc="-35" dirty="0">
                <a:effectLst/>
                <a:ea typeface="Calibri" panose="020F0502020204030204" pitchFamily="34" charset="0"/>
              </a:rPr>
              <a:t> </a:t>
            </a:r>
            <a:r>
              <a:rPr lang="en-ZA" sz="1400" dirty="0">
                <a:effectLst/>
                <a:ea typeface="Calibri" panose="020F0502020204030204" pitchFamily="34" charset="0"/>
              </a:rPr>
              <a:t>measurement,</a:t>
            </a:r>
            <a:r>
              <a:rPr lang="en-ZA" sz="1400" spc="-30" dirty="0">
                <a:effectLst/>
                <a:ea typeface="Calibri" panose="020F0502020204030204" pitchFamily="34" charset="0"/>
              </a:rPr>
              <a:t> data </a:t>
            </a:r>
            <a:r>
              <a:rPr lang="en-ZA" sz="1400" dirty="0">
                <a:effectLst/>
                <a:ea typeface="Calibri" panose="020F0502020204030204" pitchFamily="34" charset="0"/>
              </a:rPr>
              <a:t>capturing,</a:t>
            </a:r>
            <a:r>
              <a:rPr lang="en-ZA" sz="1400" spc="-20" dirty="0">
                <a:effectLst/>
                <a:ea typeface="Calibri" panose="020F0502020204030204" pitchFamily="34" charset="0"/>
              </a:rPr>
              <a:t> </a:t>
            </a:r>
            <a:r>
              <a:rPr lang="en-ZA" sz="1400" dirty="0">
                <a:effectLst/>
                <a:ea typeface="Calibri" panose="020F0502020204030204" pitchFamily="34" charset="0"/>
              </a:rPr>
              <a:t>tracking,</a:t>
            </a:r>
            <a:r>
              <a:rPr lang="en-ZA" sz="1400" spc="-20" dirty="0">
                <a:effectLst/>
                <a:ea typeface="Calibri" panose="020F0502020204030204" pitchFamily="34" charset="0"/>
              </a:rPr>
              <a:t> </a:t>
            </a:r>
            <a:r>
              <a:rPr lang="en-ZA" sz="1400" dirty="0">
                <a:effectLst/>
                <a:ea typeface="Calibri" panose="020F0502020204030204" pitchFamily="34" charset="0"/>
              </a:rPr>
              <a:t>and</a:t>
            </a:r>
            <a:r>
              <a:rPr lang="en-ZA" sz="1400" spc="-40" dirty="0">
                <a:effectLst/>
                <a:ea typeface="Calibri" panose="020F0502020204030204" pitchFamily="34" charset="0"/>
              </a:rPr>
              <a:t> </a:t>
            </a:r>
            <a:r>
              <a:rPr lang="en-ZA" sz="1400" dirty="0">
                <a:effectLst/>
                <a:ea typeface="Calibri" panose="020F0502020204030204" pitchFamily="34" charset="0"/>
              </a:rPr>
              <a:t>monitoring</a:t>
            </a:r>
            <a:r>
              <a:rPr lang="en-ZA" sz="1400" spc="-25" dirty="0">
                <a:effectLst/>
                <a:ea typeface="Calibri" panose="020F0502020204030204" pitchFamily="34" charset="0"/>
              </a:rPr>
              <a:t> </a:t>
            </a:r>
            <a:r>
              <a:rPr lang="en-ZA" sz="1400" dirty="0">
                <a:effectLst/>
                <a:ea typeface="Calibri" panose="020F0502020204030204" pitchFamily="34" charset="0"/>
              </a:rPr>
              <a:t>of</a:t>
            </a:r>
            <a:r>
              <a:rPr lang="en-ZA" sz="1400" spc="-20" dirty="0">
                <a:effectLst/>
                <a:ea typeface="Calibri" panose="020F0502020204030204" pitchFamily="34" charset="0"/>
              </a:rPr>
              <a:t> </a:t>
            </a:r>
            <a:r>
              <a:rPr lang="en-ZA" sz="1400" dirty="0">
                <a:effectLst/>
                <a:ea typeface="Calibri" panose="020F0502020204030204" pitchFamily="34" charset="0"/>
              </a:rPr>
              <a:t>fuel</a:t>
            </a:r>
            <a:r>
              <a:rPr lang="en-ZA" sz="1400" spc="-35" dirty="0">
                <a:effectLst/>
                <a:ea typeface="Calibri" panose="020F0502020204030204" pitchFamily="34" charset="0"/>
              </a:rPr>
              <a:t> deliveries and </a:t>
            </a:r>
            <a:r>
              <a:rPr lang="en-ZA" sz="1400" spc="-10" dirty="0">
                <a:effectLst/>
                <a:ea typeface="Calibri" panose="020F0502020204030204" pitchFamily="34" charset="0"/>
              </a:rPr>
              <a:t>transactions.</a:t>
            </a:r>
            <a:endParaRPr lang="en-ZA" sz="1400" dirty="0">
              <a:effectLst/>
              <a:ea typeface="Calibri" panose="020F0502020204030204" pitchFamily="34" charset="0"/>
            </a:endParaRPr>
          </a:p>
          <a:p>
            <a:pPr marL="574675">
              <a:spcBef>
                <a:spcPts val="210"/>
              </a:spcBef>
            </a:pPr>
            <a:r>
              <a:rPr lang="en-ZA" sz="1400" dirty="0">
                <a:effectLst/>
                <a:ea typeface="Calibri" panose="020F0502020204030204" pitchFamily="34" charset="0"/>
              </a:rPr>
              <a:t> </a:t>
            </a:r>
          </a:p>
          <a:p>
            <a:pPr marL="800100" lvl="1" indent="-342900">
              <a:spcBef>
                <a:spcPts val="35"/>
              </a:spcBef>
              <a:buSzPts val="1100"/>
              <a:buFont typeface="Arial" panose="020B0604020202020204" pitchFamily="34" charset="0"/>
              <a:buChar char="•"/>
              <a:tabLst>
                <a:tab pos="574675" algn="l"/>
              </a:tabLst>
            </a:pPr>
            <a:r>
              <a:rPr lang="en-ZA" sz="1400" u="sng" spc="-5" dirty="0">
                <a:effectLst/>
                <a:ea typeface="Calibri" panose="020F0502020204030204" pitchFamily="34" charset="0"/>
              </a:rPr>
              <a:t>Ineffective tank level management</a:t>
            </a:r>
            <a:endParaRPr lang="en-ZA" sz="1400" spc="-5" dirty="0">
              <a:effectLst/>
              <a:ea typeface="Calibri" panose="020F0502020204030204" pitchFamily="34" charset="0"/>
            </a:endParaRPr>
          </a:p>
          <a:p>
            <a:pPr marL="574675">
              <a:lnSpc>
                <a:spcPct val="115000"/>
              </a:lnSpc>
              <a:spcBef>
                <a:spcPts val="205"/>
              </a:spcBef>
            </a:pPr>
            <a:r>
              <a:rPr lang="en-ZA" sz="1400" dirty="0">
                <a:effectLst/>
                <a:ea typeface="Calibri" panose="020F0502020204030204" pitchFamily="34" charset="0"/>
              </a:rPr>
              <a:t>    Poor fuel level reading and monitoring of bulk storage tanks, mobile bowsers and self-bunded containerized tanks.</a:t>
            </a:r>
          </a:p>
          <a:p>
            <a:pPr marL="574675">
              <a:lnSpc>
                <a:spcPct val="115000"/>
              </a:lnSpc>
              <a:spcBef>
                <a:spcPts val="205"/>
              </a:spcBef>
            </a:pPr>
            <a:r>
              <a:rPr lang="en-ZA" sz="1400" dirty="0">
                <a:effectLst/>
                <a:ea typeface="Calibri" panose="020F0502020204030204" pitchFamily="34" charset="0"/>
              </a:rPr>
              <a:t> </a:t>
            </a:r>
          </a:p>
          <a:p>
            <a:pPr marL="800100" lvl="1" indent="-342900">
              <a:spcBef>
                <a:spcPts val="210"/>
              </a:spcBef>
              <a:buSzPts val="1100"/>
              <a:buFont typeface="Arial" panose="020B0604020202020204" pitchFamily="34" charset="0"/>
              <a:buChar char="•"/>
              <a:tabLst>
                <a:tab pos="572770" algn="l"/>
              </a:tabLst>
            </a:pPr>
            <a:r>
              <a:rPr lang="en-ZA" sz="1400" u="sng" spc="-5" dirty="0">
                <a:effectLst/>
                <a:ea typeface="Calibri" panose="020F0502020204030204" pitchFamily="34" charset="0"/>
              </a:rPr>
              <a:t>Absence of access controls for authorized personnel </a:t>
            </a:r>
            <a:r>
              <a:rPr lang="en-US" sz="1400" u="sng" spc="-5" dirty="0">
                <a:ea typeface="Calibri" panose="020F0502020204030204" pitchFamily="34" charset="0"/>
              </a:rPr>
              <a:t>identification &amp; authorization controls for equipment identification</a:t>
            </a:r>
            <a:endParaRPr lang="en-ZA" sz="1400" spc="-5" dirty="0">
              <a:effectLst/>
              <a:ea typeface="Calibri" panose="020F0502020204030204" pitchFamily="34" charset="0"/>
            </a:endParaRPr>
          </a:p>
          <a:p>
            <a:pPr marL="574675">
              <a:spcBef>
                <a:spcPts val="205"/>
              </a:spcBef>
            </a:pPr>
            <a:r>
              <a:rPr lang="en-ZA" sz="1400" dirty="0">
                <a:effectLst/>
                <a:ea typeface="Calibri" panose="020F0502020204030204" pitchFamily="34" charset="0"/>
              </a:rPr>
              <a:t>    No technology is present for identifying and authorizing fuel attendants, and authorized mobile equipment</a:t>
            </a:r>
          </a:p>
          <a:p>
            <a:pPr marL="533400">
              <a:spcBef>
                <a:spcPts val="400"/>
              </a:spcBef>
            </a:pPr>
            <a:r>
              <a:rPr lang="en-ZA" sz="1400" dirty="0">
                <a:effectLst/>
                <a:ea typeface="Calibri" panose="020F0502020204030204" pitchFamily="34" charset="0"/>
              </a:rPr>
              <a:t> </a:t>
            </a:r>
          </a:p>
          <a:p>
            <a:pPr marL="800100" lvl="1" indent="-342900">
              <a:spcBef>
                <a:spcPts val="210"/>
              </a:spcBef>
              <a:buSzPts val="1100"/>
              <a:buFont typeface="Arial" panose="020B0604020202020204" pitchFamily="34" charset="0"/>
              <a:buChar char="•"/>
              <a:tabLst>
                <a:tab pos="572770" algn="l"/>
              </a:tabLst>
            </a:pPr>
            <a:r>
              <a:rPr lang="en-ZA" sz="1400" u="sng" spc="-5" dirty="0">
                <a:effectLst/>
                <a:ea typeface="Calibri" panose="020F0502020204030204" pitchFamily="34" charset="0"/>
              </a:rPr>
              <a:t>Inadequate fuel consumption reporting</a:t>
            </a:r>
            <a:endParaRPr lang="en-ZA" sz="1400" spc="-5" dirty="0">
              <a:effectLst/>
              <a:ea typeface="Calibri" panose="020F0502020204030204" pitchFamily="34" charset="0"/>
            </a:endParaRPr>
          </a:p>
          <a:p>
            <a:pPr marL="574675">
              <a:spcBef>
                <a:spcPts val="205"/>
              </a:spcBef>
            </a:pPr>
            <a:r>
              <a:rPr lang="en-ZA" sz="1400" dirty="0">
                <a:effectLst/>
                <a:ea typeface="Calibri" panose="020F0502020204030204" pitchFamily="34" charset="0"/>
              </a:rPr>
              <a:t>    Poor fuel consumption reporting of individual storage locations and mobile equipment.</a:t>
            </a:r>
          </a:p>
          <a:p>
            <a:pPr marL="533400">
              <a:spcBef>
                <a:spcPts val="400"/>
              </a:spcBef>
            </a:pPr>
            <a:r>
              <a:rPr lang="en-ZA" sz="1400" dirty="0">
                <a:effectLst/>
                <a:ea typeface="Calibri" panose="020F0502020204030204" pitchFamily="34" charset="0"/>
              </a:rPr>
              <a:t> </a:t>
            </a:r>
          </a:p>
          <a:p>
            <a:pPr marL="800100" lvl="1" indent="-342900">
              <a:spcBef>
                <a:spcPts val="210"/>
              </a:spcBef>
              <a:buSzPts val="1100"/>
              <a:buFont typeface="Arial" panose="020B0604020202020204" pitchFamily="34" charset="0"/>
              <a:buChar char="•"/>
              <a:tabLst>
                <a:tab pos="574675" algn="l"/>
              </a:tabLst>
            </a:pPr>
            <a:r>
              <a:rPr lang="en-ZA" sz="1400" u="sng" spc="-5" dirty="0">
                <a:effectLst/>
                <a:ea typeface="Calibri" panose="020F0502020204030204" pitchFamily="34" charset="0"/>
              </a:rPr>
              <a:t>Lack of accurate fue</a:t>
            </a:r>
            <a:r>
              <a:rPr lang="en-ZA" sz="1400" u="sng" spc="-5" dirty="0">
                <a:ea typeface="Calibri" panose="020F0502020204030204" pitchFamily="34" charset="0"/>
              </a:rPr>
              <a:t>l </a:t>
            </a:r>
            <a:r>
              <a:rPr lang="en-ZA" sz="1400" u="sng" spc="-5" dirty="0">
                <a:effectLst/>
                <a:ea typeface="Calibri" panose="020F0502020204030204" pitchFamily="34" charset="0"/>
              </a:rPr>
              <a:t>reconciliation</a:t>
            </a:r>
            <a:endParaRPr lang="en-ZA" sz="1400" spc="-5" dirty="0">
              <a:effectLst/>
              <a:ea typeface="Calibri" panose="020F0502020204030204" pitchFamily="34" charset="0"/>
            </a:endParaRPr>
          </a:p>
          <a:p>
            <a:pPr marL="574675">
              <a:spcBef>
                <a:spcPts val="215"/>
              </a:spcBef>
            </a:pPr>
            <a:r>
              <a:rPr lang="en-ZA" sz="1400" dirty="0">
                <a:effectLst/>
                <a:ea typeface="Calibri" panose="020F0502020204030204" pitchFamily="34" charset="0"/>
              </a:rPr>
              <a:t>    Reconciliation of fuel delivered (purchased) vs fuel consumed is currently not possible</a:t>
            </a:r>
            <a:r>
              <a:rPr lang="en-ZA" sz="1400" dirty="0">
                <a:effectLst/>
                <a:ea typeface="Calibri" panose="020F0502020204030204" pitchFamily="34" charset="0"/>
                <a:cs typeface="Calibri" panose="020F0502020204030204" pitchFamily="34" charset="0"/>
              </a:rPr>
              <a:t>.</a:t>
            </a:r>
            <a:endParaRPr lang="en-ZA" sz="1400" dirty="0">
              <a:effectLst/>
              <a:ea typeface="Calibri" panose="020F0502020204030204" pitchFamily="34" charset="0"/>
            </a:endParaRPr>
          </a:p>
          <a:p>
            <a:endParaRPr lang="en-US" sz="1400" dirty="0"/>
          </a:p>
          <a:p>
            <a:endParaRPr lang="en-US" sz="1400" dirty="0"/>
          </a:p>
        </p:txBody>
      </p:sp>
    </p:spTree>
    <p:extLst>
      <p:ext uri="{BB962C8B-B14F-4D97-AF65-F5344CB8AC3E}">
        <p14:creationId xmlns:p14="http://schemas.microsoft.com/office/powerpoint/2010/main" val="23499880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1EF3AC-744C-A746-785B-5E9CF3640B9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621855B-8FC6-0567-1D7B-710F8240CB86}"/>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US" dirty="0">
              <a:latin typeface="+mj-lt"/>
            </a:endParaRPr>
          </a:p>
        </p:txBody>
      </p:sp>
      <p:sp>
        <p:nvSpPr>
          <p:cNvPr id="19" name="Title 18">
            <a:extLst>
              <a:ext uri="{FF2B5EF4-FFF2-40B4-BE49-F238E27FC236}">
                <a16:creationId xmlns:a16="http://schemas.microsoft.com/office/drawing/2014/main" id="{3131A6D5-1292-C0EF-310F-891380474B33}"/>
              </a:ext>
            </a:extLst>
          </p:cNvPr>
          <p:cNvSpPr>
            <a:spLocks noGrp="1"/>
          </p:cNvSpPr>
          <p:nvPr>
            <p:ph type="title"/>
          </p:nvPr>
        </p:nvSpPr>
        <p:spPr>
          <a:xfrm>
            <a:off x="283474" y="143397"/>
            <a:ext cx="10079725" cy="400110"/>
          </a:xfrm>
        </p:spPr>
        <p:txBody>
          <a:bodyPr/>
          <a:lstStyle/>
          <a:p>
            <a:r>
              <a:rPr lang="en-US" sz="2000">
                <a:latin typeface="+mn-lt"/>
              </a:rPr>
              <a:t>Background</a:t>
            </a:r>
          </a:p>
        </p:txBody>
      </p:sp>
      <p:graphicFrame>
        <p:nvGraphicFramePr>
          <p:cNvPr id="3" name="Diagram 2">
            <a:extLst>
              <a:ext uri="{FF2B5EF4-FFF2-40B4-BE49-F238E27FC236}">
                <a16:creationId xmlns:a16="http://schemas.microsoft.com/office/drawing/2014/main" id="{F1F1D2DA-2C46-FFE4-F77A-66008B82230E}"/>
              </a:ext>
            </a:extLst>
          </p:cNvPr>
          <p:cNvGraphicFramePr/>
          <p:nvPr>
            <p:extLst>
              <p:ext uri="{D42A27DB-BD31-4B8C-83A1-F6EECF244321}">
                <p14:modId xmlns:p14="http://schemas.microsoft.com/office/powerpoint/2010/main" val="4255100086"/>
              </p:ext>
            </p:extLst>
          </p:nvPr>
        </p:nvGraphicFramePr>
        <p:xfrm>
          <a:off x="234384" y="1551772"/>
          <a:ext cx="11723231" cy="46408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标题 1">
            <a:extLst>
              <a:ext uri="{FF2B5EF4-FFF2-40B4-BE49-F238E27FC236}">
                <a16:creationId xmlns:a16="http://schemas.microsoft.com/office/drawing/2014/main" id="{081DDBB3-35E1-BA0F-617E-46C006265A8C}"/>
              </a:ext>
            </a:extLst>
          </p:cNvPr>
          <p:cNvSpPr txBox="1">
            <a:spLocks/>
          </p:cNvSpPr>
          <p:nvPr/>
        </p:nvSpPr>
        <p:spPr>
          <a:xfrm>
            <a:off x="293634" y="1002891"/>
            <a:ext cx="9240883" cy="453187"/>
          </a:xfrm>
          <a:prstGeom prst="rect">
            <a:avLst/>
          </a:prstGeom>
        </p:spPr>
        <p:txBody>
          <a:bodyPr wrap="square" anchor="ctr" anchorCtr="0">
            <a:normAutofit/>
          </a:bodyPr>
          <a:lstStyle>
            <a:lvl1pPr algn="l" defTabSz="779173" rtl="0" eaLnBrk="1" latinLnBrk="0" hangingPunct="1">
              <a:spcBef>
                <a:spcPct val="0"/>
              </a:spcBef>
              <a:buNone/>
              <a:defRPr sz="2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pPr>
              <a:lnSpc>
                <a:spcPts val="2786"/>
              </a:lnSpc>
            </a:pPr>
            <a:r>
              <a:rPr lang="en-US" altLang="zh-CN">
                <a:solidFill>
                  <a:srgbClr val="1D1D1A"/>
                </a:solidFill>
                <a:latin typeface="Apex New Bold" panose="02010600040501010103"/>
                <a:cs typeface="+mn-ea"/>
              </a:rPr>
              <a:t>Drivers for Change</a:t>
            </a:r>
            <a:endParaRPr lang="zh-CN" altLang="en-US" dirty="0">
              <a:solidFill>
                <a:srgbClr val="1D1D1A"/>
              </a:solidFill>
              <a:latin typeface="Apex New Bold" panose="02010600040501010103"/>
              <a:ea typeface="微软雅黑"/>
              <a:cs typeface="+mn-ea"/>
            </a:endParaRPr>
          </a:p>
        </p:txBody>
      </p:sp>
    </p:spTree>
    <p:extLst>
      <p:ext uri="{BB962C8B-B14F-4D97-AF65-F5344CB8AC3E}">
        <p14:creationId xmlns:p14="http://schemas.microsoft.com/office/powerpoint/2010/main" val="36713861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8C7DF0D-CF3D-BC6E-2657-3E6DE238EA93}"/>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ZA" dirty="0">
              <a:latin typeface="+mj-lt"/>
            </a:endParaRPr>
          </a:p>
        </p:txBody>
      </p:sp>
      <p:sp>
        <p:nvSpPr>
          <p:cNvPr id="19" name="Title 18">
            <a:extLst>
              <a:ext uri="{FF2B5EF4-FFF2-40B4-BE49-F238E27FC236}">
                <a16:creationId xmlns:a16="http://schemas.microsoft.com/office/drawing/2014/main" id="{5A7DDE8A-B245-7F8D-DA6F-32478A5A14BA}"/>
              </a:ext>
            </a:extLst>
          </p:cNvPr>
          <p:cNvSpPr>
            <a:spLocks noGrp="1"/>
          </p:cNvSpPr>
          <p:nvPr>
            <p:ph type="title"/>
          </p:nvPr>
        </p:nvSpPr>
        <p:spPr>
          <a:xfrm>
            <a:off x="283474" y="143397"/>
            <a:ext cx="10079725" cy="400110"/>
          </a:xfrm>
        </p:spPr>
        <p:txBody>
          <a:bodyPr/>
          <a:lstStyle/>
          <a:p>
            <a:r>
              <a:rPr lang="en-US" sz="2000" dirty="0">
                <a:latin typeface="+mn-lt"/>
              </a:rPr>
              <a:t>Scope of Requirements</a:t>
            </a:r>
          </a:p>
        </p:txBody>
      </p:sp>
      <p:sp>
        <p:nvSpPr>
          <p:cNvPr id="4" name="TextBox 3">
            <a:extLst>
              <a:ext uri="{FF2B5EF4-FFF2-40B4-BE49-F238E27FC236}">
                <a16:creationId xmlns:a16="http://schemas.microsoft.com/office/drawing/2014/main" id="{74CB5104-B235-3FCE-4753-85FB2F054A7E}"/>
              </a:ext>
            </a:extLst>
          </p:cNvPr>
          <p:cNvSpPr txBox="1"/>
          <p:nvPr/>
        </p:nvSpPr>
        <p:spPr>
          <a:xfrm>
            <a:off x="293634" y="928228"/>
            <a:ext cx="11242692" cy="6924973"/>
          </a:xfrm>
          <a:prstGeom prst="rect">
            <a:avLst/>
          </a:prstGeom>
          <a:noFill/>
        </p:spPr>
        <p:txBody>
          <a:bodyPr wrap="square">
            <a:spAutoFit/>
          </a:bodyPr>
          <a:lstStyle/>
          <a:p>
            <a:r>
              <a:rPr lang="en-US" sz="1400" dirty="0">
                <a:solidFill>
                  <a:srgbClr val="000000"/>
                </a:solidFill>
                <a:latin typeface="Tahoma" panose="020B0604030504040204" pitchFamily="34" charset="0"/>
              </a:rPr>
              <a:t>For the </a:t>
            </a:r>
            <a:r>
              <a:rPr lang="en-US" sz="1400" b="0" i="0" u="none" strike="noStrike" baseline="0" dirty="0">
                <a:solidFill>
                  <a:srgbClr val="000000"/>
                </a:solidFill>
                <a:latin typeface="Tahoma" panose="020B0604030504040204" pitchFamily="34" charset="0"/>
              </a:rPr>
              <a:t>custom design, supply, installation, configuration, testing and commissioning of a fuel management system, the following is required</a:t>
            </a:r>
            <a:r>
              <a:rPr lang="en-US" sz="1400" dirty="0">
                <a:solidFill>
                  <a:srgbClr val="000000"/>
                </a:solidFill>
                <a:latin typeface="Tahoma" panose="020B0604030504040204" pitchFamily="34" charset="0"/>
              </a:rPr>
              <a:t>:</a:t>
            </a:r>
            <a:endParaRPr lang="en-US" sz="1400" b="0" i="0" u="none" strike="noStrike" baseline="0" dirty="0">
              <a:solidFill>
                <a:srgbClr val="000000"/>
              </a:solidFill>
              <a:latin typeface="Tahoma" panose="020B0604030504040204" pitchFamily="34" charset="0"/>
            </a:endParaRPr>
          </a:p>
          <a:p>
            <a:r>
              <a:rPr lang="en-US" sz="1400" b="0" i="0" u="none" strike="noStrike" baseline="0" dirty="0">
                <a:solidFill>
                  <a:srgbClr val="000000"/>
                </a:solidFill>
                <a:latin typeface="Tahoma" panose="020B0604030504040204" pitchFamily="34" charset="0"/>
              </a:rPr>
              <a:t> </a:t>
            </a:r>
            <a:endParaRPr lang="en-US" sz="1400" dirty="0">
              <a:solidFill>
                <a:srgbClr val="000000"/>
              </a:solidFill>
              <a:latin typeface="Tahoma" panose="020B0604030504040204" pitchFamily="34" charset="0"/>
            </a:endParaRPr>
          </a:p>
          <a:p>
            <a:r>
              <a:rPr lang="en-US" sz="1400" b="1" i="0" u="none" strike="noStrike" baseline="0" dirty="0">
                <a:solidFill>
                  <a:srgbClr val="000000"/>
                </a:solidFill>
                <a:latin typeface="Tahoma" panose="020B0604030504040204" pitchFamily="34" charset="0"/>
              </a:rPr>
              <a:t>a)</a:t>
            </a:r>
            <a:r>
              <a:rPr lang="en-US" sz="1400" b="0" i="0" u="none" strike="noStrike" baseline="0" dirty="0">
                <a:solidFill>
                  <a:srgbClr val="000000"/>
                </a:solidFill>
                <a:latin typeface="Tahoma" panose="020B0604030504040204" pitchFamily="34" charset="0"/>
              </a:rPr>
              <a:t>	 </a:t>
            </a:r>
            <a:r>
              <a:rPr lang="en-US" sz="1400" b="1" i="0" u="sng" strike="noStrike" baseline="0" dirty="0">
                <a:solidFill>
                  <a:srgbClr val="000000"/>
                </a:solidFill>
                <a:latin typeface="Tahoma" panose="020B0604030504040204" pitchFamily="34" charset="0"/>
              </a:rPr>
              <a:t>Supply and installation of automation hardware </a:t>
            </a:r>
          </a:p>
          <a:p>
            <a:r>
              <a:rPr lang="en-US" sz="1400" b="0" i="0" u="none" strike="noStrike" baseline="0" dirty="0">
                <a:solidFill>
                  <a:srgbClr val="000000"/>
                </a:solidFill>
                <a:latin typeface="Tahoma" panose="020B0604030504040204" pitchFamily="34" charset="0"/>
              </a:rPr>
              <a:t>	(i.e. fuel measuring instruments, biometric access control devices, telematics) </a:t>
            </a:r>
          </a:p>
          <a:p>
            <a:endParaRPr lang="en-US" sz="1400" b="0" i="0" u="none" strike="noStrike" baseline="0" dirty="0">
              <a:solidFill>
                <a:srgbClr val="000000"/>
              </a:solidFill>
              <a:latin typeface="Tahoma" panose="020B0604030504040204" pitchFamily="34" charset="0"/>
            </a:endParaRPr>
          </a:p>
          <a:p>
            <a:pPr marL="742950" lvl="1" indent="-285750">
              <a:buFont typeface="Arial" panose="020B0604020202020204" pitchFamily="34" charset="0"/>
              <a:buChar char="•"/>
            </a:pPr>
            <a:r>
              <a:rPr lang="en-ZA" sz="1400" b="0" i="0" u="none" strike="noStrike" baseline="0" dirty="0">
                <a:solidFill>
                  <a:srgbClr val="000000"/>
                </a:solidFill>
                <a:latin typeface="Tahoma" panose="020B0604030504040204" pitchFamily="34" charset="0"/>
              </a:rPr>
              <a:t>IoT fuel flow meters </a:t>
            </a:r>
          </a:p>
          <a:p>
            <a:pPr marL="742950" lvl="1" indent="-285750">
              <a:buFont typeface="Arial" panose="020B0604020202020204" pitchFamily="34" charset="0"/>
              <a:buChar char="•"/>
            </a:pPr>
            <a:r>
              <a:rPr lang="en-ZA" sz="1400" b="0" i="0" u="none" strike="noStrike" baseline="0" dirty="0">
                <a:solidFill>
                  <a:srgbClr val="000000"/>
                </a:solidFill>
                <a:latin typeface="Tahoma" panose="020B0604030504040204" pitchFamily="34" charset="0"/>
              </a:rPr>
              <a:t>IoT automatic tank gauging (with tank fuel level probes or fuel level sensors). </a:t>
            </a:r>
          </a:p>
          <a:p>
            <a:pPr marL="742950" lvl="1" indent="-285750">
              <a:buFont typeface="Arial" panose="020B0604020202020204" pitchFamily="34" charset="0"/>
              <a:buChar char="•"/>
            </a:pPr>
            <a:r>
              <a:rPr lang="en-ZA" sz="1400" b="0" i="0" u="none" strike="noStrike" baseline="0" dirty="0">
                <a:solidFill>
                  <a:srgbClr val="000000"/>
                </a:solidFill>
                <a:latin typeface="Tahoma" panose="020B0604030504040204" pitchFamily="34" charset="0"/>
              </a:rPr>
              <a:t>IoT water-in-fuel sensors/detectors </a:t>
            </a:r>
          </a:p>
          <a:p>
            <a:pPr marL="742950" lvl="1" indent="-285750">
              <a:buFont typeface="Arial" panose="020B0604020202020204" pitchFamily="34" charset="0"/>
              <a:buChar char="•"/>
            </a:pPr>
            <a:r>
              <a:rPr lang="en-ZA" sz="1400" b="0" i="0" u="none" strike="noStrike" baseline="0" dirty="0">
                <a:solidFill>
                  <a:srgbClr val="000000"/>
                </a:solidFill>
                <a:latin typeface="Tahoma" panose="020B0604030504040204" pitchFamily="34" charset="0"/>
              </a:rPr>
              <a:t>Biometric controlled fixed tank fuel decanting/receiving pumps. </a:t>
            </a:r>
          </a:p>
          <a:p>
            <a:pPr marL="742950" lvl="1" indent="-285750">
              <a:buFont typeface="Arial" panose="020B0604020202020204" pitchFamily="34" charset="0"/>
              <a:buChar char="•"/>
            </a:pPr>
            <a:r>
              <a:rPr lang="en-ZA" sz="1400" b="0" i="0" u="none" strike="noStrike" baseline="0" dirty="0">
                <a:solidFill>
                  <a:srgbClr val="000000"/>
                </a:solidFill>
                <a:latin typeface="Tahoma" panose="020B0604030504040204" pitchFamily="34" charset="0"/>
              </a:rPr>
              <a:t>Biometric controlled fuel dispenser pumps </a:t>
            </a:r>
          </a:p>
          <a:p>
            <a:pPr marL="742950" lvl="1" indent="-285750">
              <a:buFont typeface="Arial" panose="020B0604020202020204" pitchFamily="34" charset="0"/>
              <a:buChar char="•"/>
            </a:pPr>
            <a:r>
              <a:rPr lang="en-ZA" sz="1400" b="0" i="0" u="none" strike="noStrike" baseline="0" dirty="0">
                <a:solidFill>
                  <a:srgbClr val="000000"/>
                </a:solidFill>
                <a:latin typeface="Tahoma" panose="020B0604030504040204" pitchFamily="34" charset="0"/>
              </a:rPr>
              <a:t>Biometric controlled mobile bowser issuing pumps </a:t>
            </a:r>
          </a:p>
          <a:p>
            <a:pPr marL="742950" lvl="1" indent="-285750">
              <a:buFont typeface="Arial" panose="020B0604020202020204" pitchFamily="34" charset="0"/>
              <a:buChar char="•"/>
            </a:pPr>
            <a:r>
              <a:rPr lang="en-ZA" sz="1400" b="0" i="0" u="none" strike="noStrike" baseline="0" dirty="0">
                <a:solidFill>
                  <a:srgbClr val="000000"/>
                </a:solidFill>
                <a:latin typeface="Tahoma" panose="020B0604030504040204" pitchFamily="34" charset="0"/>
              </a:rPr>
              <a:t>Tamper proof vehicle and mobile equipment authentication via radio-frequency identification (RFID) tagging </a:t>
            </a:r>
          </a:p>
          <a:p>
            <a:pPr marL="742950" lvl="1" indent="-285750">
              <a:buFont typeface="Arial" panose="020B0604020202020204" pitchFamily="34" charset="0"/>
              <a:buChar char="•"/>
            </a:pPr>
            <a:r>
              <a:rPr lang="en-ZA" sz="1400" b="0" i="0" u="none" strike="noStrike" baseline="0" dirty="0">
                <a:solidFill>
                  <a:srgbClr val="000000"/>
                </a:solidFill>
                <a:latin typeface="Tahoma" panose="020B0604030504040204" pitchFamily="34" charset="0"/>
              </a:rPr>
              <a:t>Telematics devices or units to capture odometer readings and/or engine hour readings, depending on the mobile equipment </a:t>
            </a:r>
          </a:p>
          <a:p>
            <a:pPr algn="l"/>
            <a:endParaRPr lang="en-ZA" sz="1800" b="0" i="0" u="none" strike="noStrike" baseline="0" dirty="0">
              <a:solidFill>
                <a:srgbClr val="000000"/>
              </a:solidFill>
              <a:latin typeface="Tahoma" panose="020B0604030504040204" pitchFamily="34" charset="0"/>
            </a:endParaRPr>
          </a:p>
          <a:p>
            <a:pPr marL="342900" indent="-342900">
              <a:buAutoNum type="alphaLcParenR" startAt="2"/>
            </a:pPr>
            <a:r>
              <a:rPr lang="en-US" sz="1400" b="1" i="0" u="sng" strike="noStrike" baseline="0" dirty="0">
                <a:solidFill>
                  <a:srgbClr val="000000"/>
                </a:solidFill>
                <a:latin typeface="Tahoma" panose="020B0604030504040204" pitchFamily="34" charset="0"/>
              </a:rPr>
              <a:t>Data network connectivity and communication setup</a:t>
            </a:r>
          </a:p>
          <a:p>
            <a:endParaRPr lang="en-US" sz="1400" b="1" i="0" u="sng" strike="noStrike" baseline="0" dirty="0">
              <a:solidFill>
                <a:srgbClr val="000000"/>
              </a:solidFill>
              <a:latin typeface="Tahoma" panose="020B0604030504040204" pitchFamily="34" charset="0"/>
            </a:endParaRPr>
          </a:p>
          <a:p>
            <a:pPr marL="628650" lvl="1" indent="-171450">
              <a:buFont typeface="Arial" panose="020B0604020202020204" pitchFamily="34" charset="0"/>
              <a:buChar char="•"/>
            </a:pPr>
            <a:r>
              <a:rPr lang="en-US" sz="1400" b="0" i="0" u="none" strike="noStrike" baseline="0" dirty="0">
                <a:solidFill>
                  <a:srgbClr val="000000"/>
                </a:solidFill>
                <a:latin typeface="Tahoma" panose="020B0604030504040204" pitchFamily="34" charset="0"/>
              </a:rPr>
              <a:t>Enable automation hardware with the capability to connect and transfer data through mobile cellular connectivity (GPRS/GSM/3G/4G/LTE/5G) for real-time data collection &amp; reporting</a:t>
            </a:r>
          </a:p>
          <a:p>
            <a:pPr marL="628650" lvl="1" indent="-171450">
              <a:buFont typeface="Arial" panose="020B0604020202020204" pitchFamily="34" charset="0"/>
              <a:buChar char="•"/>
            </a:pPr>
            <a:r>
              <a:rPr lang="en-US" sz="1400" b="0" i="0" u="none" strike="noStrike" baseline="0" dirty="0">
                <a:solidFill>
                  <a:srgbClr val="000000"/>
                </a:solidFill>
                <a:latin typeface="Tahoma" panose="020B0604030504040204" pitchFamily="34" charset="0"/>
              </a:rPr>
              <a:t>Setup and configure a </a:t>
            </a:r>
            <a:r>
              <a:rPr lang="en-US" sz="1400" b="0" i="0" u="none" strike="noStrike" baseline="0" dirty="0" err="1">
                <a:solidFill>
                  <a:srgbClr val="000000"/>
                </a:solidFill>
                <a:latin typeface="Tahoma" panose="020B0604030504040204" pitchFamily="34" charset="0"/>
              </a:rPr>
              <a:t>centralised</a:t>
            </a:r>
            <a:r>
              <a:rPr lang="en-US" sz="1400" b="0" i="0" u="none" strike="noStrike" baseline="0" dirty="0">
                <a:solidFill>
                  <a:srgbClr val="000000"/>
                </a:solidFill>
                <a:latin typeface="Tahoma" panose="020B0604030504040204" pitchFamily="34" charset="0"/>
              </a:rPr>
              <a:t> cloud-based database at Transnet site, referred to as the FMS Database, with backup and restore capability. The database must be scalable.</a:t>
            </a:r>
          </a:p>
          <a:p>
            <a:pPr marL="628650" lvl="1" indent="-171450">
              <a:buFont typeface="Arial" panose="020B0604020202020204" pitchFamily="34" charset="0"/>
              <a:buChar char="•"/>
            </a:pPr>
            <a:r>
              <a:rPr lang="en-US" sz="1400" b="0" i="0" u="none" strike="noStrike" baseline="0" dirty="0">
                <a:solidFill>
                  <a:srgbClr val="000000"/>
                </a:solidFill>
                <a:latin typeface="Tahoma" panose="020B0604030504040204" pitchFamily="34" charset="0"/>
              </a:rPr>
              <a:t>Ensure all relevant automation hardware data is communicated to the FMS Database.</a:t>
            </a:r>
          </a:p>
          <a:p>
            <a:pPr marL="628650" lvl="1" indent="-171450">
              <a:buFont typeface="Arial" panose="020B0604020202020204" pitchFamily="34" charset="0"/>
              <a:buChar char="•"/>
            </a:pPr>
            <a:r>
              <a:rPr lang="en-US" sz="1400" b="0" i="0" u="none" strike="noStrike" baseline="0" dirty="0">
                <a:solidFill>
                  <a:srgbClr val="000000"/>
                </a:solidFill>
                <a:latin typeface="Tahoma" panose="020B0604030504040204" pitchFamily="34" charset="0"/>
              </a:rPr>
              <a:t>Ensure the communication layer is secured in line with Transnet Security standards</a:t>
            </a:r>
          </a:p>
          <a:p>
            <a:pPr marL="628650" lvl="1" indent="-171450">
              <a:buFont typeface="Arial" panose="020B0604020202020204" pitchFamily="34" charset="0"/>
              <a:buChar char="•"/>
            </a:pPr>
            <a:r>
              <a:rPr lang="en-US" sz="1400" b="0" i="0" u="none" strike="noStrike" baseline="0" dirty="0">
                <a:solidFill>
                  <a:srgbClr val="000000"/>
                </a:solidFill>
                <a:latin typeface="Tahoma" panose="020B0604030504040204" pitchFamily="34" charset="0"/>
              </a:rPr>
              <a:t>Ensure the fuel management system and data is owned by Transnet</a:t>
            </a:r>
          </a:p>
          <a:p>
            <a:pPr marL="628650" lvl="1" indent="-171450">
              <a:buFont typeface="Arial" panose="020B0604020202020204" pitchFamily="34" charset="0"/>
              <a:buChar char="•"/>
            </a:pPr>
            <a:r>
              <a:rPr lang="en-US" sz="1400" b="0" i="0" u="none" strike="noStrike" baseline="0" dirty="0">
                <a:solidFill>
                  <a:srgbClr val="000000"/>
                </a:solidFill>
                <a:latin typeface="Tahoma" panose="020B0604030504040204" pitchFamily="34" charset="0"/>
              </a:rPr>
              <a:t>Ensure that the relevant data from the FMS Database will integrate to the relevant Transnet systems for business processing</a:t>
            </a:r>
            <a:endParaRPr lang="en-ZA" sz="1400" b="0" i="0" u="none" strike="noStrike" baseline="0" dirty="0">
              <a:solidFill>
                <a:srgbClr val="000000"/>
              </a:solidFill>
              <a:latin typeface="Tahoma" panose="020B0604030504040204" pitchFamily="34" charset="0"/>
            </a:endParaRPr>
          </a:p>
          <a:p>
            <a:endParaRPr lang="en-US" dirty="0">
              <a:solidFill>
                <a:srgbClr val="000000"/>
              </a:solidFill>
              <a:latin typeface="Tahoma" panose="020B0604030504040204" pitchFamily="34" charset="0"/>
            </a:endParaRPr>
          </a:p>
          <a:p>
            <a:endParaRPr lang="en-US" dirty="0">
              <a:solidFill>
                <a:srgbClr val="000000"/>
              </a:solidFill>
              <a:latin typeface="Tahoma" panose="020B0604030504040204" pitchFamily="34" charset="0"/>
            </a:endParaRPr>
          </a:p>
          <a:p>
            <a:endParaRPr lang="en-US" dirty="0">
              <a:solidFill>
                <a:srgbClr val="000000"/>
              </a:solidFill>
              <a:latin typeface="Tahoma" panose="020B0604030504040204" pitchFamily="34" charset="0"/>
            </a:endParaRPr>
          </a:p>
          <a:p>
            <a:endParaRPr lang="en-US" dirty="0">
              <a:solidFill>
                <a:srgbClr val="000000"/>
              </a:solidFill>
              <a:latin typeface="Tahoma" panose="020B0604030504040204" pitchFamily="34" charset="0"/>
            </a:endParaRPr>
          </a:p>
          <a:p>
            <a:endParaRPr lang="en-ZA" dirty="0"/>
          </a:p>
        </p:txBody>
      </p:sp>
    </p:spTree>
    <p:extLst>
      <p:ext uri="{BB962C8B-B14F-4D97-AF65-F5344CB8AC3E}">
        <p14:creationId xmlns:p14="http://schemas.microsoft.com/office/powerpoint/2010/main" val="11171993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DA106-9B4F-8351-5156-158CB046527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15BB136-CDE4-A749-7E8E-07CD74CC2650}"/>
              </a:ext>
            </a:extLst>
          </p:cNvPr>
          <p:cNvSpPr>
            <a:spLocks noGrp="1"/>
          </p:cNvSpPr>
          <p:nvPr>
            <p:ph type="body" sz="quarter" idx="16"/>
          </p:nvPr>
        </p:nvSpPr>
        <p:spPr>
          <a:xfrm>
            <a:off x="293634" y="528118"/>
            <a:ext cx="5907785" cy="775149"/>
          </a:xfrm>
        </p:spPr>
        <p:txBody>
          <a:bodyPr/>
          <a:lstStyle/>
          <a:p>
            <a:r>
              <a:rPr lang="en-US" dirty="0">
                <a:latin typeface="+mj-lt"/>
              </a:rPr>
              <a:t>RFP </a:t>
            </a:r>
            <a:r>
              <a:rPr lang="en-US" dirty="0" err="1">
                <a:latin typeface="+mj-lt"/>
              </a:rPr>
              <a:t>iCLM</a:t>
            </a:r>
            <a:r>
              <a:rPr lang="en-US" dirty="0">
                <a:latin typeface="+mj-lt"/>
              </a:rPr>
              <a:t> HQ 926/TPT</a:t>
            </a:r>
            <a:endParaRPr lang="en-ZA" dirty="0">
              <a:latin typeface="+mj-lt"/>
            </a:endParaRPr>
          </a:p>
          <a:p>
            <a:endParaRPr lang="en-ZA" dirty="0">
              <a:latin typeface="+mj-lt"/>
            </a:endParaRPr>
          </a:p>
        </p:txBody>
      </p:sp>
      <p:sp>
        <p:nvSpPr>
          <p:cNvPr id="19" name="Title 18">
            <a:extLst>
              <a:ext uri="{FF2B5EF4-FFF2-40B4-BE49-F238E27FC236}">
                <a16:creationId xmlns:a16="http://schemas.microsoft.com/office/drawing/2014/main" id="{EF0E89F4-64C5-7857-FED1-87BAF2E36999}"/>
              </a:ext>
            </a:extLst>
          </p:cNvPr>
          <p:cNvSpPr>
            <a:spLocks noGrp="1"/>
          </p:cNvSpPr>
          <p:nvPr>
            <p:ph type="title"/>
          </p:nvPr>
        </p:nvSpPr>
        <p:spPr>
          <a:xfrm>
            <a:off x="283474" y="143397"/>
            <a:ext cx="10079725" cy="400110"/>
          </a:xfrm>
        </p:spPr>
        <p:txBody>
          <a:bodyPr/>
          <a:lstStyle/>
          <a:p>
            <a:r>
              <a:rPr lang="en-US" sz="2000" dirty="0">
                <a:latin typeface="+mn-lt"/>
              </a:rPr>
              <a:t>Scope of Requirements</a:t>
            </a:r>
          </a:p>
        </p:txBody>
      </p:sp>
      <p:sp>
        <p:nvSpPr>
          <p:cNvPr id="4" name="TextBox 3">
            <a:extLst>
              <a:ext uri="{FF2B5EF4-FFF2-40B4-BE49-F238E27FC236}">
                <a16:creationId xmlns:a16="http://schemas.microsoft.com/office/drawing/2014/main" id="{EA25CE32-56FD-07D3-82D8-9776A451BBC0}"/>
              </a:ext>
            </a:extLst>
          </p:cNvPr>
          <p:cNvSpPr txBox="1"/>
          <p:nvPr/>
        </p:nvSpPr>
        <p:spPr>
          <a:xfrm>
            <a:off x="293634" y="1125339"/>
            <a:ext cx="9704589" cy="3539430"/>
          </a:xfrm>
          <a:prstGeom prst="rect">
            <a:avLst/>
          </a:prstGeom>
          <a:noFill/>
        </p:spPr>
        <p:txBody>
          <a:bodyPr wrap="square">
            <a:spAutoFit/>
          </a:bodyPr>
          <a:lstStyle/>
          <a:p>
            <a:r>
              <a:rPr lang="en-US" sz="1400" b="1" dirty="0"/>
              <a:t>c) 	</a:t>
            </a:r>
            <a:r>
              <a:rPr lang="en-US" sz="1400" b="1" u="sng" dirty="0"/>
              <a:t>Design and deployment of a </a:t>
            </a:r>
            <a:r>
              <a:rPr lang="en-US" sz="1400" b="1" u="sng" dirty="0" err="1"/>
              <a:t>centralised</a:t>
            </a:r>
            <a:r>
              <a:rPr lang="en-US" sz="1400" b="1" u="sng" dirty="0"/>
              <a:t> cloud-based fuel management dashboard owned by TPT</a:t>
            </a:r>
            <a:endParaRPr lang="en-ZA" sz="1400" b="1" u="sng" dirty="0"/>
          </a:p>
          <a:p>
            <a:endParaRPr lang="en-ZA" sz="1400" dirty="0"/>
          </a:p>
          <a:p>
            <a:pPr marL="628650" lvl="1" indent="-171450">
              <a:buFont typeface="Arial" panose="020B0604020202020204" pitchFamily="34" charset="0"/>
              <a:buChar char="•"/>
            </a:pPr>
            <a:r>
              <a:rPr lang="en-ZA" sz="1400" dirty="0"/>
              <a:t>Fuel data acquisition, processing, and visualization</a:t>
            </a:r>
          </a:p>
          <a:p>
            <a:pPr marL="628650" lvl="1" indent="-171450">
              <a:buFont typeface="Arial" panose="020B0604020202020204" pitchFamily="34" charset="0"/>
              <a:buChar char="•"/>
            </a:pPr>
            <a:r>
              <a:rPr lang="en-ZA" sz="1400" dirty="0"/>
              <a:t>Online real-time fuel transaction tracking, monitoring, analysis, and reporting</a:t>
            </a:r>
          </a:p>
          <a:p>
            <a:pPr marL="628650" lvl="1" indent="-171450">
              <a:buFont typeface="Arial" panose="020B0604020202020204" pitchFamily="34" charset="0"/>
              <a:buChar char="•"/>
            </a:pPr>
            <a:r>
              <a:rPr lang="en-ZA" sz="1400" dirty="0"/>
              <a:t>Live real-time tank level readings of bulk storage fuel facilities, mobile bowsers and self- bunded containerized tanks</a:t>
            </a:r>
          </a:p>
          <a:p>
            <a:pPr marL="628650" lvl="1" indent="-171450">
              <a:buFont typeface="Arial" panose="020B0604020202020204" pitchFamily="34" charset="0"/>
              <a:buChar char="•"/>
            </a:pPr>
            <a:r>
              <a:rPr lang="en-ZA" sz="1400" dirty="0"/>
              <a:t>Live water detection/monitoring of bulk storage fuel facilities, mobile bowsers and self- bunded containerized tanks</a:t>
            </a:r>
          </a:p>
          <a:p>
            <a:pPr marL="628650" lvl="1" indent="-171450">
              <a:buFont typeface="Arial" panose="020B0604020202020204" pitchFamily="34" charset="0"/>
              <a:buChar char="•"/>
            </a:pPr>
            <a:r>
              <a:rPr lang="en-ZA" sz="1400" dirty="0"/>
              <a:t>Online mobile equipment fuel consumption tracking, monitoring, analysis, and reporting</a:t>
            </a:r>
          </a:p>
          <a:p>
            <a:pPr marL="628650" lvl="1" indent="-171450">
              <a:buFont typeface="Arial" panose="020B0604020202020204" pitchFamily="34" charset="0"/>
              <a:buChar char="•"/>
            </a:pPr>
            <a:r>
              <a:rPr lang="en-ZA" sz="1400" dirty="0"/>
              <a:t>Monitor and reconcile received/decanted, stored, transferred and dispensed fuels</a:t>
            </a:r>
          </a:p>
          <a:p>
            <a:pPr marL="628650" lvl="1" indent="-171450">
              <a:buFont typeface="Arial" panose="020B0604020202020204" pitchFamily="34" charset="0"/>
              <a:buChar char="•"/>
            </a:pPr>
            <a:r>
              <a:rPr lang="en-ZA" sz="1400" dirty="0"/>
              <a:t>Daily, weekly, and monthly fuel transaction and consumption reporting</a:t>
            </a:r>
          </a:p>
          <a:p>
            <a:pPr marL="628650" lvl="1" indent="-171450">
              <a:buFont typeface="Arial" panose="020B0604020202020204" pitchFamily="34" charset="0"/>
              <a:buChar char="•"/>
            </a:pPr>
            <a:r>
              <a:rPr lang="en-ZA" sz="1400" dirty="0"/>
              <a:t>Trend analysis based on Transnet KPIs</a:t>
            </a:r>
          </a:p>
          <a:p>
            <a:pPr marL="628650" lvl="1" indent="-171450">
              <a:buFont typeface="Arial" panose="020B0604020202020204" pitchFamily="34" charset="0"/>
              <a:buChar char="•"/>
            </a:pPr>
            <a:r>
              <a:rPr lang="en-ZA" sz="1400" dirty="0"/>
              <a:t>Pre-programmed stock level thresholds (min/max or high/low levels)</a:t>
            </a:r>
          </a:p>
          <a:p>
            <a:pPr marL="628650" lvl="1" indent="-171450">
              <a:buFont typeface="Arial" panose="020B0604020202020204" pitchFamily="34" charset="0"/>
              <a:buChar char="•"/>
            </a:pPr>
            <a:r>
              <a:rPr lang="en-ZA" sz="1400" dirty="0"/>
              <a:t>Automated alert/alarm notifications for stock replenishment on the bulk storage facilities</a:t>
            </a:r>
          </a:p>
          <a:p>
            <a:pPr marL="628650" lvl="1" indent="-171450">
              <a:buFont typeface="Arial" panose="020B0604020202020204" pitchFamily="34" charset="0"/>
              <a:buChar char="•"/>
            </a:pPr>
            <a:r>
              <a:rPr lang="en-ZA" sz="1400" dirty="0"/>
              <a:t>Pre-programmed discrepancy/warning alerts and alarms</a:t>
            </a:r>
          </a:p>
          <a:p>
            <a:pPr marL="628650" lvl="1" indent="-171450">
              <a:buFont typeface="Arial" panose="020B0604020202020204" pitchFamily="34" charset="0"/>
              <a:buChar char="•"/>
            </a:pPr>
            <a:r>
              <a:rPr lang="en-ZA" sz="1400" dirty="0"/>
              <a:t>Flag irregular usage, abnormalities and suspicious fuel transactions</a:t>
            </a:r>
          </a:p>
        </p:txBody>
      </p:sp>
    </p:spTree>
    <p:extLst>
      <p:ext uri="{BB962C8B-B14F-4D97-AF65-F5344CB8AC3E}">
        <p14:creationId xmlns:p14="http://schemas.microsoft.com/office/powerpoint/2010/main" val="13199271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8C7DF0D-CF3D-BC6E-2657-3E6DE238EA93}"/>
              </a:ext>
            </a:extLst>
          </p:cNvPr>
          <p:cNvSpPr>
            <a:spLocks noGrp="1"/>
          </p:cNvSpPr>
          <p:nvPr>
            <p:ph type="body" sz="quarter" idx="16"/>
          </p:nvPr>
        </p:nvSpPr>
        <p:spPr>
          <a:xfrm>
            <a:off x="293634" y="528118"/>
            <a:ext cx="5907785" cy="775149"/>
          </a:xfrm>
        </p:spPr>
        <p:txBody>
          <a:bodyPr/>
          <a:lstStyle/>
          <a:p>
            <a:r>
              <a:rPr lang="en-US">
                <a:latin typeface="+mj-lt"/>
              </a:rPr>
              <a:t>RFP iCLM HQ 926/TPT</a:t>
            </a:r>
            <a:endParaRPr lang="en-ZA">
              <a:latin typeface="+mj-lt"/>
            </a:endParaRPr>
          </a:p>
          <a:p>
            <a:endParaRPr lang="en-ZA" dirty="0">
              <a:latin typeface="+mj-lt"/>
            </a:endParaRPr>
          </a:p>
        </p:txBody>
      </p:sp>
      <p:sp>
        <p:nvSpPr>
          <p:cNvPr id="19" name="Title 18">
            <a:extLst>
              <a:ext uri="{FF2B5EF4-FFF2-40B4-BE49-F238E27FC236}">
                <a16:creationId xmlns:a16="http://schemas.microsoft.com/office/drawing/2014/main" id="{5A7DDE8A-B245-7F8D-DA6F-32478A5A14BA}"/>
              </a:ext>
            </a:extLst>
          </p:cNvPr>
          <p:cNvSpPr>
            <a:spLocks noGrp="1"/>
          </p:cNvSpPr>
          <p:nvPr>
            <p:ph type="title"/>
          </p:nvPr>
        </p:nvSpPr>
        <p:spPr>
          <a:xfrm>
            <a:off x="283474" y="143397"/>
            <a:ext cx="10079725" cy="400110"/>
          </a:xfrm>
        </p:spPr>
        <p:txBody>
          <a:bodyPr/>
          <a:lstStyle/>
          <a:p>
            <a:r>
              <a:rPr lang="en-US" sz="2000" dirty="0">
                <a:latin typeface="+mj-lt"/>
              </a:rPr>
              <a:t>Technical Specification: System Architecture (Concept View)</a:t>
            </a:r>
          </a:p>
        </p:txBody>
      </p:sp>
      <p:pic>
        <p:nvPicPr>
          <p:cNvPr id="5" name="Picture 4">
            <a:extLst>
              <a:ext uri="{FF2B5EF4-FFF2-40B4-BE49-F238E27FC236}">
                <a16:creationId xmlns:a16="http://schemas.microsoft.com/office/drawing/2014/main" id="{5EEF6503-7F02-B233-4120-E6DFE42181F8}"/>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499431" y="950098"/>
            <a:ext cx="11193138" cy="5605543"/>
          </a:xfrm>
          <a:prstGeom prst="rect">
            <a:avLst/>
          </a:prstGeom>
          <a:noFill/>
        </p:spPr>
      </p:pic>
    </p:spTree>
    <p:extLst>
      <p:ext uri="{BB962C8B-B14F-4D97-AF65-F5344CB8AC3E}">
        <p14:creationId xmlns:p14="http://schemas.microsoft.com/office/powerpoint/2010/main" val="29193854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258291-AE0B-E4F3-8956-82555C75A4E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95EE418-2083-58CB-393C-7FB27FBE7FCB}"/>
              </a:ext>
            </a:extLst>
          </p:cNvPr>
          <p:cNvSpPr>
            <a:spLocks noGrp="1"/>
          </p:cNvSpPr>
          <p:nvPr>
            <p:ph type="body" sz="quarter" idx="16"/>
          </p:nvPr>
        </p:nvSpPr>
        <p:spPr>
          <a:xfrm>
            <a:off x="293634" y="528118"/>
            <a:ext cx="5907785" cy="775149"/>
          </a:xfrm>
        </p:spPr>
        <p:txBody>
          <a:bodyPr/>
          <a:lstStyle/>
          <a:p>
            <a:r>
              <a:rPr lang="en-US">
                <a:latin typeface="+mj-lt"/>
              </a:rPr>
              <a:t>RFP iCLM HQ 926/TPT</a:t>
            </a:r>
            <a:endParaRPr lang="en-ZA">
              <a:latin typeface="+mj-lt"/>
            </a:endParaRPr>
          </a:p>
          <a:p>
            <a:endParaRPr lang="en-ZA" dirty="0">
              <a:latin typeface="+mj-lt"/>
            </a:endParaRPr>
          </a:p>
        </p:txBody>
      </p:sp>
      <p:sp>
        <p:nvSpPr>
          <p:cNvPr id="19" name="Title 18">
            <a:extLst>
              <a:ext uri="{FF2B5EF4-FFF2-40B4-BE49-F238E27FC236}">
                <a16:creationId xmlns:a16="http://schemas.microsoft.com/office/drawing/2014/main" id="{0DE5F333-8C0B-47C9-B0AA-56B30AAEC1BA}"/>
              </a:ext>
            </a:extLst>
          </p:cNvPr>
          <p:cNvSpPr>
            <a:spLocks noGrp="1"/>
          </p:cNvSpPr>
          <p:nvPr>
            <p:ph type="title"/>
          </p:nvPr>
        </p:nvSpPr>
        <p:spPr>
          <a:xfrm>
            <a:off x="283474" y="143397"/>
            <a:ext cx="10079725" cy="400110"/>
          </a:xfrm>
        </p:spPr>
        <p:txBody>
          <a:bodyPr/>
          <a:lstStyle/>
          <a:p>
            <a:r>
              <a:rPr lang="en-US" sz="2000" dirty="0">
                <a:latin typeface="+mj-lt"/>
              </a:rPr>
              <a:t>Technical Specification: </a:t>
            </a:r>
            <a:r>
              <a:rPr lang="en-US" altLang="zh-CN" sz="2000" b="1" dirty="0">
                <a:solidFill>
                  <a:srgbClr val="1D1D1A"/>
                </a:solidFill>
                <a:latin typeface="+mj-lt"/>
                <a:cs typeface="+mn-ea"/>
              </a:rPr>
              <a:t>System and Services Integration</a:t>
            </a:r>
            <a:endParaRPr lang="en-US" sz="2000" dirty="0">
              <a:latin typeface="+mj-lt"/>
            </a:endParaRPr>
          </a:p>
        </p:txBody>
      </p:sp>
      <p:sp>
        <p:nvSpPr>
          <p:cNvPr id="3" name="矩形 121">
            <a:extLst>
              <a:ext uri="{FF2B5EF4-FFF2-40B4-BE49-F238E27FC236}">
                <a16:creationId xmlns:a16="http://schemas.microsoft.com/office/drawing/2014/main" id="{26BCBEEF-34F3-9192-2D4A-E5B9D190C8C9}"/>
              </a:ext>
            </a:extLst>
          </p:cNvPr>
          <p:cNvSpPr/>
          <p:nvPr/>
        </p:nvSpPr>
        <p:spPr>
          <a:xfrm>
            <a:off x="283474" y="1009660"/>
            <a:ext cx="9285195" cy="323102"/>
          </a:xfrm>
          <a:prstGeom prst="rect">
            <a:avLst/>
          </a:prstGeom>
        </p:spPr>
        <p:txBody>
          <a:bodyPr wrap="square">
            <a:spAutoFit/>
          </a:bodyPr>
          <a:lstStyle/>
          <a:p>
            <a:pPr defTabSz="742739">
              <a:lnSpc>
                <a:spcPct val="120000"/>
              </a:lnSpc>
              <a:defRPr/>
            </a:pPr>
            <a:r>
              <a:rPr lang="en-US" altLang="zh-CN" sz="1400" dirty="0">
                <a:solidFill>
                  <a:srgbClr val="1D1D1A"/>
                </a:solidFill>
                <a:ea typeface="微软雅黑"/>
                <a:cs typeface="Arial"/>
              </a:rPr>
              <a:t>Services which will be created through the FMS for efficient and effective fuel management:</a:t>
            </a:r>
          </a:p>
        </p:txBody>
      </p:sp>
      <p:graphicFrame>
        <p:nvGraphicFramePr>
          <p:cNvPr id="4" name="表格 7">
            <a:extLst>
              <a:ext uri="{FF2B5EF4-FFF2-40B4-BE49-F238E27FC236}">
                <a16:creationId xmlns:a16="http://schemas.microsoft.com/office/drawing/2014/main" id="{CE99A44C-EAC8-7277-609C-196044A9F772}"/>
              </a:ext>
            </a:extLst>
          </p:cNvPr>
          <p:cNvGraphicFramePr>
            <a:graphicFrameLocks noGrp="1"/>
          </p:cNvGraphicFramePr>
          <p:nvPr>
            <p:extLst>
              <p:ext uri="{D42A27DB-BD31-4B8C-83A1-F6EECF244321}">
                <p14:modId xmlns:p14="http://schemas.microsoft.com/office/powerpoint/2010/main" val="1667350006"/>
              </p:ext>
            </p:extLst>
          </p:nvPr>
        </p:nvGraphicFramePr>
        <p:xfrm>
          <a:off x="283474" y="1605214"/>
          <a:ext cx="10472898" cy="3439960"/>
        </p:xfrm>
        <a:graphic>
          <a:graphicData uri="http://schemas.openxmlformats.org/drawingml/2006/table">
            <a:tbl>
              <a:tblPr firstRow="1" bandRow="1">
                <a:tableStyleId>{F2DE63D5-997A-4646-A377-4702673A728D}</a:tableStyleId>
              </a:tblPr>
              <a:tblGrid>
                <a:gridCol w="2180262">
                  <a:extLst>
                    <a:ext uri="{9D8B030D-6E8A-4147-A177-3AD203B41FA5}">
                      <a16:colId xmlns:a16="http://schemas.microsoft.com/office/drawing/2014/main" val="20000"/>
                    </a:ext>
                  </a:extLst>
                </a:gridCol>
                <a:gridCol w="1148224">
                  <a:extLst>
                    <a:ext uri="{9D8B030D-6E8A-4147-A177-3AD203B41FA5}">
                      <a16:colId xmlns:a16="http://schemas.microsoft.com/office/drawing/2014/main" val="20001"/>
                    </a:ext>
                  </a:extLst>
                </a:gridCol>
                <a:gridCol w="7144412">
                  <a:extLst>
                    <a:ext uri="{9D8B030D-6E8A-4147-A177-3AD203B41FA5}">
                      <a16:colId xmlns:a16="http://schemas.microsoft.com/office/drawing/2014/main" val="20002"/>
                    </a:ext>
                  </a:extLst>
                </a:gridCol>
              </a:tblGrid>
              <a:tr h="396027">
                <a:tc>
                  <a:txBody>
                    <a:bodyPr/>
                    <a:lstStyle/>
                    <a:p>
                      <a:pPr algn="ctr"/>
                      <a:r>
                        <a:rPr lang="en-US" altLang="zh-CN" sz="1400" dirty="0">
                          <a:solidFill>
                            <a:schemeClr val="bg1"/>
                          </a:solidFill>
                        </a:rPr>
                        <a:t>Service name</a:t>
                      </a:r>
                    </a:p>
                  </a:txBody>
                  <a:tcPr marL="74266" marR="74266" marT="37133" marB="37133"/>
                </a:tc>
                <a:tc>
                  <a:txBody>
                    <a:bodyPr/>
                    <a:lstStyle/>
                    <a:p>
                      <a:pPr marL="0" marR="0" lvl="0" indent="0" algn="ctr" defTabSz="1187798" rtl="0" eaLnBrk="1" fontAlgn="auto" latinLnBrk="0" hangingPunct="1">
                        <a:lnSpc>
                          <a:spcPct val="100000"/>
                        </a:lnSpc>
                        <a:spcBef>
                          <a:spcPts val="0"/>
                        </a:spcBef>
                        <a:spcAft>
                          <a:spcPts val="0"/>
                        </a:spcAft>
                        <a:buClrTx/>
                        <a:buSzTx/>
                        <a:buFontTx/>
                        <a:buNone/>
                        <a:tabLst/>
                        <a:defRPr/>
                      </a:pPr>
                      <a:r>
                        <a:rPr lang="en-US" altLang="zh-CN" sz="1400" dirty="0">
                          <a:solidFill>
                            <a:schemeClr val="bg1"/>
                          </a:solidFill>
                        </a:rPr>
                        <a:t>Owner</a:t>
                      </a:r>
                      <a:endParaRPr lang="zh-CN" altLang="en-US" sz="1400" dirty="0">
                        <a:solidFill>
                          <a:schemeClr val="bg1"/>
                        </a:solidFill>
                      </a:endParaRPr>
                    </a:p>
                  </a:txBody>
                  <a:tcPr marL="74266" marR="74266" marT="37133" marB="37133"/>
                </a:tc>
                <a:tc>
                  <a:txBody>
                    <a:bodyPr/>
                    <a:lstStyle/>
                    <a:p>
                      <a:pPr algn="ctr"/>
                      <a:r>
                        <a:rPr lang="en-US" altLang="zh-CN" sz="1400" dirty="0">
                          <a:solidFill>
                            <a:schemeClr val="bg1"/>
                          </a:solidFill>
                        </a:rPr>
                        <a:t>Analysis Item</a:t>
                      </a:r>
                      <a:endParaRPr lang="zh-CN" altLang="en-US" sz="1400" dirty="0">
                        <a:solidFill>
                          <a:schemeClr val="bg1"/>
                        </a:solidFill>
                      </a:endParaRPr>
                    </a:p>
                  </a:txBody>
                  <a:tcPr marL="74266" marR="74266" marT="37133" marB="37133"/>
                </a:tc>
                <a:extLst>
                  <a:ext uri="{0D108BD9-81ED-4DB2-BD59-A6C34878D82A}">
                    <a16:rowId xmlns:a16="http://schemas.microsoft.com/office/drawing/2014/main" val="10000"/>
                  </a:ext>
                </a:extLst>
              </a:tr>
              <a:tr h="698913">
                <a:tc>
                  <a:txBody>
                    <a:bodyPr/>
                    <a:lstStyle/>
                    <a:p>
                      <a:pPr marL="0" algn="l" defTabSz="844083" rtl="0" eaLnBrk="1" latinLnBrk="0" hangingPunct="1">
                        <a:lnSpc>
                          <a:spcPts val="1200"/>
                        </a:lnSpc>
                        <a:spcBef>
                          <a:spcPts val="400"/>
                        </a:spcBef>
                        <a:spcAft>
                          <a:spcPts val="400"/>
                        </a:spcAft>
                      </a:pPr>
                      <a:r>
                        <a:rPr lang="en-US" sz="1200" b="1" kern="1200" dirty="0">
                          <a:solidFill>
                            <a:srgbClr val="1D1D1A"/>
                          </a:solidFill>
                        </a:rPr>
                        <a:t>Materials Management (MM) Service</a:t>
                      </a:r>
                      <a:endParaRPr lang="zh-CN" altLang="en-US" sz="1200" b="1" kern="1200" dirty="0">
                        <a:solidFill>
                          <a:srgbClr val="1D1D1A"/>
                        </a:solidFill>
                        <a:latin typeface="+mn-lt"/>
                        <a:ea typeface="+mn-ea"/>
                        <a:cs typeface="+mn-cs"/>
                      </a:endParaRPr>
                    </a:p>
                  </a:txBody>
                  <a:tcPr marL="55699" marR="55699" marT="0" marB="0" anchor="ctr"/>
                </a:tc>
                <a:tc>
                  <a:txBody>
                    <a:bodyPr/>
                    <a:lstStyle/>
                    <a:p>
                      <a:pPr algn="l">
                        <a:lnSpc>
                          <a:spcPts val="1200"/>
                        </a:lnSpc>
                        <a:spcBef>
                          <a:spcPts val="400"/>
                        </a:spcBef>
                        <a:spcAft>
                          <a:spcPts val="400"/>
                        </a:spcAft>
                      </a:pPr>
                      <a:r>
                        <a:rPr lang="en-US" altLang="zh-CN" sz="1200" b="1" dirty="0">
                          <a:effectLst/>
                        </a:rPr>
                        <a:t>TPT</a:t>
                      </a:r>
                      <a:endParaRPr lang="zh-CN" altLang="en-US" sz="1200" b="1" dirty="0">
                        <a:effectLst/>
                        <a:latin typeface="+mn-lt"/>
                        <a:ea typeface="宋体" panose="02010600030101010101" pitchFamily="2" charset="-122"/>
                        <a:cs typeface="Arial" panose="020B0604020202020204" pitchFamily="34" charset="0"/>
                      </a:endParaRPr>
                    </a:p>
                  </a:txBody>
                  <a:tcPr marL="55699" marR="55699" marT="0" marB="0" anchor="ctr"/>
                </a:tc>
                <a:tc>
                  <a:txBody>
                    <a:bodyPr/>
                    <a:lstStyle/>
                    <a:p>
                      <a:pPr marL="0" indent="0" algn="l" defTabSz="844083" rtl="0" eaLnBrk="1" latinLnBrk="0" hangingPunct="1">
                        <a:lnSpc>
                          <a:spcPts val="1200"/>
                        </a:lnSpc>
                        <a:spcBef>
                          <a:spcPts val="400"/>
                        </a:spcBef>
                        <a:spcAft>
                          <a:spcPts val="400"/>
                        </a:spcAft>
                        <a:buFont typeface="Arial" panose="020B0604020202020204" pitchFamily="34" charset="0"/>
                        <a:buNone/>
                      </a:pPr>
                      <a:r>
                        <a:rPr lang="en-US" altLang="zh-CN" sz="1200" kern="1200" dirty="0">
                          <a:solidFill>
                            <a:schemeClr val="tx1"/>
                          </a:solidFill>
                          <a:effectLst/>
                        </a:rPr>
                        <a:t>Equipment and consumption data as maintained in SAP</a:t>
                      </a:r>
                      <a:endParaRPr lang="zh-CN" altLang="en-US" sz="1200" kern="1200" dirty="0">
                        <a:solidFill>
                          <a:schemeClr val="tx1"/>
                        </a:solidFill>
                        <a:effectLst/>
                        <a:latin typeface="+mn-lt"/>
                        <a:ea typeface="宋体" panose="02010600030101010101" pitchFamily="2" charset="-122"/>
                        <a:cs typeface="Arial" panose="020B0604020202020204" pitchFamily="34" charset="0"/>
                      </a:endParaRPr>
                    </a:p>
                  </a:txBody>
                  <a:tcPr marL="55699" marR="55699" marT="0" marB="0" anchor="ctr"/>
                </a:tc>
                <a:extLst>
                  <a:ext uri="{0D108BD9-81ED-4DB2-BD59-A6C34878D82A}">
                    <a16:rowId xmlns:a16="http://schemas.microsoft.com/office/drawing/2014/main" val="10005"/>
                  </a:ext>
                </a:extLst>
              </a:tr>
              <a:tr h="629265">
                <a:tc>
                  <a:txBody>
                    <a:bodyPr/>
                    <a:lstStyle/>
                    <a:p>
                      <a:pPr algn="l">
                        <a:lnSpc>
                          <a:spcPts val="1200"/>
                        </a:lnSpc>
                        <a:spcBef>
                          <a:spcPts val="400"/>
                        </a:spcBef>
                        <a:spcAft>
                          <a:spcPts val="400"/>
                        </a:spcAft>
                      </a:pPr>
                      <a:r>
                        <a:rPr lang="en-US" altLang="zh-CN" sz="1200" b="1" dirty="0">
                          <a:effectLst/>
                        </a:rPr>
                        <a:t>Plant Maintenance (PM) Service</a:t>
                      </a:r>
                      <a:endParaRPr lang="zh-CN" sz="1200" b="1" dirty="0">
                        <a:effectLst/>
                        <a:latin typeface="+mn-lt"/>
                        <a:ea typeface="宋体" panose="02010600030101010101" pitchFamily="2" charset="-122"/>
                        <a:cs typeface="Arial" panose="020B0604020202020204" pitchFamily="34" charset="0"/>
                      </a:endParaRPr>
                    </a:p>
                  </a:txBody>
                  <a:tcPr marL="55699" marR="55699" marT="0" marB="0" anchor="ctr"/>
                </a:tc>
                <a:tc>
                  <a:txBody>
                    <a:bodyPr/>
                    <a:lstStyle/>
                    <a:p>
                      <a:pPr algn="l">
                        <a:lnSpc>
                          <a:spcPts val="1200"/>
                        </a:lnSpc>
                        <a:spcBef>
                          <a:spcPts val="400"/>
                        </a:spcBef>
                        <a:spcAft>
                          <a:spcPts val="400"/>
                        </a:spcAft>
                      </a:pPr>
                      <a:r>
                        <a:rPr lang="en-US" altLang="zh-CN" sz="1200" b="1" dirty="0">
                          <a:effectLst/>
                        </a:rPr>
                        <a:t>TPT</a:t>
                      </a:r>
                      <a:endParaRPr lang="zh-CN" sz="1200" b="1" dirty="0">
                        <a:effectLst/>
                        <a:latin typeface="+mn-lt"/>
                        <a:ea typeface="宋体" panose="02010600030101010101" pitchFamily="2" charset="-122"/>
                        <a:cs typeface="Arial" panose="020B0604020202020204" pitchFamily="34" charset="0"/>
                      </a:endParaRPr>
                    </a:p>
                  </a:txBody>
                  <a:tcPr marL="55699" marR="55699" marT="0" marB="0" anchor="ctr"/>
                </a:tc>
                <a:tc>
                  <a:txBody>
                    <a:bodyPr/>
                    <a:lstStyle/>
                    <a:p>
                      <a:pPr marL="0" indent="0" algn="l" defTabSz="844083" rtl="0" eaLnBrk="1" latinLnBrk="0" hangingPunct="1">
                        <a:lnSpc>
                          <a:spcPts val="1200"/>
                        </a:lnSpc>
                        <a:spcBef>
                          <a:spcPts val="400"/>
                        </a:spcBef>
                        <a:spcAft>
                          <a:spcPts val="400"/>
                        </a:spcAft>
                        <a:buFont typeface="Arial" panose="020B0604020202020204" pitchFamily="34" charset="0"/>
                        <a:buNone/>
                      </a:pPr>
                      <a:r>
                        <a:rPr lang="en-US" altLang="zh-CN" sz="1200" kern="1200" dirty="0">
                          <a:solidFill>
                            <a:schemeClr val="tx1"/>
                          </a:solidFill>
                          <a:effectLst/>
                        </a:rPr>
                        <a:t>Equipment and consumption data as maintained in SAP</a:t>
                      </a:r>
                      <a:endParaRPr lang="zh-CN" altLang="en-US" sz="1200" kern="1200" dirty="0">
                        <a:solidFill>
                          <a:schemeClr val="tx1"/>
                        </a:solidFill>
                        <a:effectLst/>
                        <a:latin typeface="+mn-lt"/>
                        <a:ea typeface="宋体" panose="02010600030101010101" pitchFamily="2" charset="-122"/>
                        <a:cs typeface="Arial" panose="020B0604020202020204" pitchFamily="34" charset="0"/>
                      </a:endParaRPr>
                    </a:p>
                  </a:txBody>
                  <a:tcPr marL="55699" marR="55699" marT="0" marB="0" anchor="ctr"/>
                </a:tc>
                <a:extLst>
                  <a:ext uri="{0D108BD9-81ED-4DB2-BD59-A6C34878D82A}">
                    <a16:rowId xmlns:a16="http://schemas.microsoft.com/office/drawing/2014/main" val="10008"/>
                  </a:ext>
                </a:extLst>
              </a:tr>
              <a:tr h="749656">
                <a:tc>
                  <a:txBody>
                    <a:bodyPr/>
                    <a:lstStyle/>
                    <a:p>
                      <a:pPr algn="l">
                        <a:lnSpc>
                          <a:spcPts val="1200"/>
                        </a:lnSpc>
                        <a:spcBef>
                          <a:spcPts val="400"/>
                        </a:spcBef>
                        <a:spcAft>
                          <a:spcPts val="400"/>
                        </a:spcAft>
                      </a:pPr>
                      <a:r>
                        <a:rPr lang="en-US" altLang="zh-CN" sz="1200" b="1" dirty="0">
                          <a:effectLst/>
                        </a:rPr>
                        <a:t>Power BI Service</a:t>
                      </a:r>
                      <a:endParaRPr lang="zh-CN" sz="1200" b="1" dirty="0">
                        <a:effectLst/>
                        <a:latin typeface="+mn-lt"/>
                        <a:ea typeface="宋体" panose="02010600030101010101" pitchFamily="2" charset="-122"/>
                        <a:cs typeface="Arial" panose="020B0604020202020204" pitchFamily="34" charset="0"/>
                      </a:endParaRPr>
                    </a:p>
                  </a:txBody>
                  <a:tcPr marL="55699" marR="55699" marT="0" marB="0" anchor="ctr"/>
                </a:tc>
                <a:tc>
                  <a:txBody>
                    <a:bodyPr/>
                    <a:lstStyle/>
                    <a:p>
                      <a:pPr algn="l">
                        <a:lnSpc>
                          <a:spcPts val="1200"/>
                        </a:lnSpc>
                        <a:spcBef>
                          <a:spcPts val="400"/>
                        </a:spcBef>
                        <a:spcAft>
                          <a:spcPts val="400"/>
                        </a:spcAft>
                      </a:pPr>
                      <a:r>
                        <a:rPr lang="en-US" altLang="zh-CN" sz="1200" b="1" dirty="0">
                          <a:effectLst/>
                        </a:rPr>
                        <a:t>TPT</a:t>
                      </a:r>
                      <a:endParaRPr lang="zh-CN" altLang="en-US" sz="1200" b="1" dirty="0">
                        <a:effectLst/>
                        <a:latin typeface="+mn-lt"/>
                        <a:ea typeface="宋体" panose="02010600030101010101" pitchFamily="2" charset="-122"/>
                        <a:cs typeface="Arial" panose="020B0604020202020204" pitchFamily="34" charset="0"/>
                      </a:endParaRPr>
                    </a:p>
                  </a:txBody>
                  <a:tcPr marL="55699" marR="55699" marT="0" marB="0" anchor="ctr"/>
                </a:tc>
                <a:tc>
                  <a:txBody>
                    <a:bodyPr/>
                    <a:lstStyle/>
                    <a:p>
                      <a:pPr marL="0" indent="0" algn="l">
                        <a:lnSpc>
                          <a:spcPct val="100000"/>
                        </a:lnSpc>
                        <a:spcBef>
                          <a:spcPts val="0"/>
                        </a:spcBef>
                        <a:spcAft>
                          <a:spcPts val="0"/>
                        </a:spcAft>
                        <a:buFont typeface="Arial" panose="020B0604020202020204" pitchFamily="34" charset="0"/>
                        <a:buNone/>
                      </a:pPr>
                      <a:r>
                        <a:rPr lang="en-US" altLang="zh-CN" sz="1200" dirty="0">
                          <a:effectLst/>
                        </a:rPr>
                        <a:t>Business Intelligence for Reporting, dashboards and analytics</a:t>
                      </a:r>
                      <a:endParaRPr lang="en-US" altLang="zh-CN" sz="1200" dirty="0">
                        <a:effectLst/>
                        <a:latin typeface="+mn-lt"/>
                        <a:ea typeface="宋体" panose="02010600030101010101" pitchFamily="2" charset="-122"/>
                        <a:cs typeface="Arial" panose="020B0604020202020204" pitchFamily="34" charset="0"/>
                      </a:endParaRPr>
                    </a:p>
                  </a:txBody>
                  <a:tcPr marL="55699" marR="55699" marT="0" marB="0" anchor="ctr"/>
                </a:tc>
                <a:extLst>
                  <a:ext uri="{0D108BD9-81ED-4DB2-BD59-A6C34878D82A}">
                    <a16:rowId xmlns:a16="http://schemas.microsoft.com/office/drawing/2014/main" val="10009"/>
                  </a:ext>
                </a:extLst>
              </a:tr>
              <a:tr h="966099">
                <a:tc>
                  <a:txBody>
                    <a:bodyPr/>
                    <a:lstStyle/>
                    <a:p>
                      <a:pPr algn="l">
                        <a:lnSpc>
                          <a:spcPts val="1200"/>
                        </a:lnSpc>
                        <a:spcBef>
                          <a:spcPts val="400"/>
                        </a:spcBef>
                        <a:spcAft>
                          <a:spcPts val="400"/>
                        </a:spcAft>
                      </a:pPr>
                      <a:r>
                        <a:rPr lang="en-US" altLang="zh-CN" sz="1200" b="1" dirty="0">
                          <a:effectLst/>
                        </a:rPr>
                        <a:t>T&amp;A Service</a:t>
                      </a:r>
                      <a:endParaRPr lang="zh-CN" sz="1200" b="1" dirty="0">
                        <a:effectLst/>
                        <a:latin typeface="+mn-lt"/>
                        <a:ea typeface="宋体" panose="02010600030101010101" pitchFamily="2" charset="-122"/>
                        <a:cs typeface="Arial" panose="020B0604020202020204" pitchFamily="34" charset="0"/>
                      </a:endParaRPr>
                    </a:p>
                  </a:txBody>
                  <a:tcPr marL="55699" marR="55699" marT="0" marB="0" anchor="ctr"/>
                </a:tc>
                <a:tc>
                  <a:txBody>
                    <a:bodyPr/>
                    <a:lstStyle/>
                    <a:p>
                      <a:pPr algn="l">
                        <a:lnSpc>
                          <a:spcPts val="1200"/>
                        </a:lnSpc>
                        <a:spcBef>
                          <a:spcPts val="400"/>
                        </a:spcBef>
                        <a:spcAft>
                          <a:spcPts val="400"/>
                        </a:spcAft>
                      </a:pPr>
                      <a:r>
                        <a:rPr lang="en-US" altLang="zh-CN" sz="1200" b="1" dirty="0">
                          <a:effectLst/>
                        </a:rPr>
                        <a:t>TPT</a:t>
                      </a:r>
                      <a:endParaRPr lang="zh-CN" sz="1200" b="1" dirty="0">
                        <a:effectLst/>
                        <a:latin typeface="+mn-lt"/>
                        <a:ea typeface="宋体" panose="02010600030101010101" pitchFamily="2" charset="-122"/>
                        <a:cs typeface="Arial" panose="020B0604020202020204" pitchFamily="34" charset="0"/>
                      </a:endParaRPr>
                    </a:p>
                  </a:txBody>
                  <a:tcPr marL="55699" marR="55699" marT="0" marB="0" anchor="ctr"/>
                </a:tc>
                <a:tc>
                  <a:txBody>
                    <a:bodyPr/>
                    <a:lstStyle/>
                    <a:p>
                      <a:pPr marL="0" indent="0" algn="l">
                        <a:lnSpc>
                          <a:spcPct val="100000"/>
                        </a:lnSpc>
                        <a:spcBef>
                          <a:spcPts val="0"/>
                        </a:spcBef>
                        <a:spcAft>
                          <a:spcPts val="0"/>
                        </a:spcAft>
                        <a:buFont typeface="Arial" panose="020B0604020202020204" pitchFamily="34" charset="0"/>
                        <a:buNone/>
                      </a:pPr>
                      <a:r>
                        <a:rPr lang="en-US" altLang="zh-CN" sz="1200" dirty="0">
                          <a:effectLst/>
                        </a:rPr>
                        <a:t>T&amp;A (Time and Attendance) system utilises biometric and card facility to allow for recording of arrival and knock-off times of employees. The T&amp;A service will utilise the biometrics component of this system for user identification when performing a transaction at fueling stations and bowser fueling or validating user details within the FMS scope of requirements.</a:t>
                      </a:r>
                      <a:endParaRPr lang="zh-CN" sz="1200" dirty="0">
                        <a:effectLst/>
                        <a:latin typeface="+mn-lt"/>
                        <a:ea typeface="宋体" panose="02010600030101010101" pitchFamily="2" charset="-122"/>
                        <a:cs typeface="Arial" panose="020B0604020202020204" pitchFamily="34" charset="0"/>
                      </a:endParaRPr>
                    </a:p>
                  </a:txBody>
                  <a:tcPr marL="55699" marR="55699" marT="0" marB="0" anchor="ct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3155303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6402bf8a-be4c-4d43-8340-107e775f40e9" ContentTypeId="0x0101" PreviousValue="false"/>
</file>

<file path=customXml/item2.xml><?xml version="1.0" encoding="utf-8"?>
<ct:contentTypeSchema xmlns:ct="http://schemas.microsoft.com/office/2006/metadata/contentType" xmlns:ma="http://schemas.microsoft.com/office/2006/metadata/properties/metaAttributes" ct:_="" ma:_="" ma:contentTypeName="Document" ma:contentTypeID="0x0101005B90F5F8BE3FFB4C9E257075015D6A90" ma:contentTypeVersion="8" ma:contentTypeDescription="Create a new document." ma:contentTypeScope="" ma:versionID="e9e9ea798cd57365e8b237e841d0cd2c">
  <xsd:schema xmlns:xsd="http://www.w3.org/2001/XMLSchema" xmlns:xs="http://www.w3.org/2001/XMLSchema" xmlns:p="http://schemas.microsoft.com/office/2006/metadata/properties" xmlns:ns2="6f7b4a7f-d44a-4f65-a9aa-96ec94e426e4" xmlns:ns3="08ce780f-4a7e-4359-9037-6cd2fc0c5bc5" xmlns:ns4="08dc15a3-cfdd-4f71-90db-7a585405cdb8" targetNamespace="http://schemas.microsoft.com/office/2006/metadata/properties" ma:root="true" ma:fieldsID="3d6d414de4f86ec8d77accc2115aff69" ns2:_="" ns3:_="" ns4:_="">
    <xsd:import namespace="6f7b4a7f-d44a-4f65-a9aa-96ec94e426e4"/>
    <xsd:import namespace="08ce780f-4a7e-4359-9037-6cd2fc0c5bc5"/>
    <xsd:import namespace="08dc15a3-cfdd-4f71-90db-7a585405cdb8"/>
    <xsd:element name="properties">
      <xsd:complexType>
        <xsd:sequence>
          <xsd:element name="documentManagement">
            <xsd:complexType>
              <xsd:all>
                <xsd:element ref="ns2:Approval_x0020_Required" minOccurs="0"/>
                <xsd:element ref="ns2:Approvers" minOccurs="0"/>
                <xsd:element ref="ns2:Approve_x0020_Stage" minOccurs="0"/>
                <xsd:element ref="ns3:MediaServiceMetadata" minOccurs="0"/>
                <xsd:element ref="ns3:MediaServiceFastMetadata" minOccurs="0"/>
                <xsd:element ref="ns3:MediaServiceObjectDetectorVersions" minOccurs="0"/>
                <xsd:element ref="ns4:SharedWithUsers" minOccurs="0"/>
                <xsd:element ref="ns4:SharedWithDetail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7b4a7f-d44a-4f65-a9aa-96ec94e426e4" elementFormDefault="qualified">
    <xsd:import namespace="http://schemas.microsoft.com/office/2006/documentManagement/types"/>
    <xsd:import namespace="http://schemas.microsoft.com/office/infopath/2007/PartnerControls"/>
    <xsd:element name="Approval_x0020_Required" ma:index="8" nillable="true" ma:displayName="Approval Required" ma:default="No" ma:format="Dropdown" ma:internalName="Approval_x0020_Required">
      <xsd:simpleType>
        <xsd:restriction base="dms:Choice">
          <xsd:enumeration value="No"/>
          <xsd:enumeration value="Yes"/>
        </xsd:restriction>
      </xsd:simpleType>
    </xsd:element>
    <xsd:element name="Approvers" ma:index="9" nillable="true" ma:displayName="Approvers" ma:list="UserInfo" ma:SharePointGroup="0" ma:internalName="Approvers"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pprove_x0020_Stage" ma:index="10" nillable="true" ma:displayName="Approve Stage" ma:format="Dropdown" ma:internalName="Approve_x0020_Stage">
      <xsd:simpleType>
        <xsd:restriction base="dms:Choice">
          <xsd:enumeration value="Approving"/>
          <xsd:enumeration value="Approved"/>
          <xsd:enumeration value="Rejected"/>
        </xsd:restriction>
      </xsd:simpleType>
    </xsd:element>
  </xsd:schema>
  <xsd:schema xmlns:xsd="http://www.w3.org/2001/XMLSchema" xmlns:xs="http://www.w3.org/2001/XMLSchema" xmlns:dms="http://schemas.microsoft.com/office/2006/documentManagement/types" xmlns:pc="http://schemas.microsoft.com/office/infopath/2007/PartnerControls" targetNamespace="08ce780f-4a7e-4359-9037-6cd2fc0c5bc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SearchProperties" ma:index="1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8dc15a3-cfdd-4f71-90db-7a585405cdb8"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Approval_x0020_Required xmlns="6f7b4a7f-d44a-4f65-a9aa-96ec94e426e4">No</Approval_x0020_Required>
    <Approvers xmlns="6f7b4a7f-d44a-4f65-a9aa-96ec94e426e4">
      <UserInfo>
        <DisplayName/>
        <AccountId xsi:nil="true"/>
        <AccountType/>
      </UserInfo>
    </Approvers>
    <Approve_x0020_Stage xmlns="6f7b4a7f-d44a-4f65-a9aa-96ec94e426e4" xsi:nil="true"/>
    <SharedWithUsers xmlns="08dc15a3-cfdd-4f71-90db-7a585405cdb8">
      <UserInfo>
        <DisplayName>Marimo Taderera   Transnet Property   Johannesburg</DisplayName>
        <AccountId>37</AccountId>
        <AccountType/>
      </UserInfo>
    </SharedWithUsers>
  </documentManagement>
</p:properties>
</file>

<file path=customXml/itemProps1.xml><?xml version="1.0" encoding="utf-8"?>
<ds:datastoreItem xmlns:ds="http://schemas.openxmlformats.org/officeDocument/2006/customXml" ds:itemID="{AB74BC48-2AF0-4B2F-93FB-BEFCB9A07A66}">
  <ds:schemaRefs>
    <ds:schemaRef ds:uri="Microsoft.SharePoint.Taxonomy.ContentTypeSync"/>
  </ds:schemaRefs>
</ds:datastoreItem>
</file>

<file path=customXml/itemProps2.xml><?xml version="1.0" encoding="utf-8"?>
<ds:datastoreItem xmlns:ds="http://schemas.openxmlformats.org/officeDocument/2006/customXml" ds:itemID="{43DAFFE4-29B6-46D7-A9EB-F2D7BFC51B34}">
  <ds:schemaRefs>
    <ds:schemaRef ds:uri="08ce780f-4a7e-4359-9037-6cd2fc0c5bc5"/>
    <ds:schemaRef ds:uri="08dc15a3-cfdd-4f71-90db-7a585405cdb8"/>
    <ds:schemaRef ds:uri="6f7b4a7f-d44a-4f65-a9aa-96ec94e426e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8E53A0D-FF07-4C70-A30E-133F516FC611}">
  <ds:schemaRefs>
    <ds:schemaRef ds:uri="http://schemas.microsoft.com/sharepoint/v3/contenttype/forms"/>
  </ds:schemaRefs>
</ds:datastoreItem>
</file>

<file path=customXml/itemProps4.xml><?xml version="1.0" encoding="utf-8"?>
<ds:datastoreItem xmlns:ds="http://schemas.openxmlformats.org/officeDocument/2006/customXml" ds:itemID="{C64AA3A9-A820-4959-AB84-868C8A0F9BD7}">
  <ds:schemaRefs>
    <ds:schemaRef ds:uri="08ce780f-4a7e-4359-9037-6cd2fc0c5bc5"/>
    <ds:schemaRef ds:uri="08dc15a3-cfdd-4f71-90db-7a585405cdb8"/>
    <ds:schemaRef ds:uri="6f7b4a7f-d44a-4f65-a9aa-96ec94e426e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4833</Words>
  <Application>Microsoft Office PowerPoint</Application>
  <PresentationFormat>Widescreen</PresentationFormat>
  <Paragraphs>986</Paragraphs>
  <Slides>24</Slides>
  <Notes>2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5" baseType="lpstr">
      <vt:lpstr>微软雅黑</vt:lpstr>
      <vt:lpstr>Apex New Bold</vt:lpstr>
      <vt:lpstr>Apex New Book</vt:lpstr>
      <vt:lpstr>Apex New Medium</vt:lpstr>
      <vt:lpstr>Apex New Medium Italic</vt:lpstr>
      <vt:lpstr>Arial</vt:lpstr>
      <vt:lpstr>Calibri</vt:lpstr>
      <vt:lpstr>Tahoma</vt:lpstr>
      <vt:lpstr>1_TEMPLATE MASTER</vt:lpstr>
      <vt:lpstr>1_TEMPLATE MASTER</vt:lpstr>
      <vt:lpstr>think-cell Slide</vt:lpstr>
      <vt:lpstr>Compulsory Tender Briefing Session RFP iCLM HQ 926/TPT   CUSTOM DESIGN, SUPPLY, INSTALLATION, CONFIGURATION, TESTING AND COMMISSIONING OF A FUEL MANAGEMENT SYSTEM FOR TRANSNET SOC LIMITED (REG. NO. 1990/000900/30) OPERATING AS TRANSNET PORT TERMINALS (HEREINAFTER REFERRED TO AS “TPT”), AT THE RICHARD’S BAY, DURBAN, EASTERN CAPE AND WESTERN CAPE TERMINALS  Technical Presentation</vt:lpstr>
      <vt:lpstr>Contents</vt:lpstr>
      <vt:lpstr>Business Background</vt:lpstr>
      <vt:lpstr>Project Background</vt:lpstr>
      <vt:lpstr>Background</vt:lpstr>
      <vt:lpstr>Scope of Requirements</vt:lpstr>
      <vt:lpstr>Scope of Requirements</vt:lpstr>
      <vt:lpstr>Technical Specification: System Architecture (Concept View)</vt:lpstr>
      <vt:lpstr>Technical Specification: System and Services Integration</vt:lpstr>
      <vt:lpstr>Technical Evaluation </vt:lpstr>
      <vt:lpstr>Technical Evaluation </vt:lpstr>
      <vt:lpstr>Technical Evaluation </vt:lpstr>
      <vt:lpstr>Technical Presentation Evaluation</vt:lpstr>
      <vt:lpstr>Technical Presentation Evaluation</vt:lpstr>
      <vt:lpstr>Activity Schedule</vt:lpstr>
      <vt:lpstr>Activity Schedule</vt:lpstr>
      <vt:lpstr>Activity Schedule</vt:lpstr>
      <vt:lpstr>Activity Schedule</vt:lpstr>
      <vt:lpstr>Activity Schedule</vt:lpstr>
      <vt:lpstr>Activity Schedule</vt:lpstr>
      <vt:lpstr>Activity Schedule</vt:lpstr>
      <vt:lpstr>Activity Schedule</vt:lpstr>
      <vt:lpstr>Activity Schedule</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trauss</dc:creator>
  <cp:lastModifiedBy>Nosipho Bhengu   Transnet Port Terminals   Durban</cp:lastModifiedBy>
  <cp:revision>2</cp:revision>
  <cp:lastPrinted>2020-07-17T12:09:20Z</cp:lastPrinted>
  <dcterms:created xsi:type="dcterms:W3CDTF">2020-05-19T16:46:16Z</dcterms:created>
  <dcterms:modified xsi:type="dcterms:W3CDTF">2025-04-14T14:0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B90F5F8BE3FFB4C9E257075015D6A90</vt:lpwstr>
  </property>
  <property fmtid="{D5CDD505-2E9C-101B-9397-08002B2CF9AE}" pid="3" name="MediaServiceImageTags">
    <vt:lpwstr/>
  </property>
  <property fmtid="{D5CDD505-2E9C-101B-9397-08002B2CF9AE}" pid="4" name="MSIP_Label_58cf86ee-526f-4536-9daf-d1ee8064d50e_Enabled">
    <vt:lpwstr>true</vt:lpwstr>
  </property>
  <property fmtid="{D5CDD505-2E9C-101B-9397-08002B2CF9AE}" pid="5" name="MSIP_Label_58cf86ee-526f-4536-9daf-d1ee8064d50e_SetDate">
    <vt:lpwstr>2025-04-14T10:21:03Z</vt:lpwstr>
  </property>
  <property fmtid="{D5CDD505-2E9C-101B-9397-08002B2CF9AE}" pid="6" name="MSIP_Label_58cf86ee-526f-4536-9daf-d1ee8064d50e_Method">
    <vt:lpwstr>Standard</vt:lpwstr>
  </property>
  <property fmtid="{D5CDD505-2E9C-101B-9397-08002B2CF9AE}" pid="7" name="MSIP_Label_58cf86ee-526f-4536-9daf-d1ee8064d50e_Name">
    <vt:lpwstr>Internal Only Information</vt:lpwstr>
  </property>
  <property fmtid="{D5CDD505-2E9C-101B-9397-08002B2CF9AE}" pid="8" name="MSIP_Label_58cf86ee-526f-4536-9daf-d1ee8064d50e_SiteId">
    <vt:lpwstr>a1a39996-f913-4016-a58a-361c60dec580</vt:lpwstr>
  </property>
  <property fmtid="{D5CDD505-2E9C-101B-9397-08002B2CF9AE}" pid="9" name="MSIP_Label_58cf86ee-526f-4536-9daf-d1ee8064d50e_ActionId">
    <vt:lpwstr>8cb56423-55af-429b-bc4b-80f37b1317ff</vt:lpwstr>
  </property>
  <property fmtid="{D5CDD505-2E9C-101B-9397-08002B2CF9AE}" pid="10" name="MSIP_Label_58cf86ee-526f-4536-9daf-d1ee8064d50e_ContentBits">
    <vt:lpwstr>0</vt:lpwstr>
  </property>
</Properties>
</file>